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4.xml" ContentType="application/vnd.openxmlformats-officedocument.presentationml.notesSlid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27" r:id="rId2"/>
  </p:sldMasterIdLst>
  <p:notesMasterIdLst>
    <p:notesMasterId r:id="rId8"/>
  </p:notesMasterIdLst>
  <p:sldIdLst>
    <p:sldId id="258" r:id="rId3"/>
    <p:sldId id="261" r:id="rId4"/>
    <p:sldId id="265" r:id="rId5"/>
    <p:sldId id="266" r:id="rId6"/>
    <p:sldId id="270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347A030-1BB1-3697-0BF1-EF3DA795F582}" name="Josh Brown" initials="JB" userId="S::Joshua.Brown4@us.nationalgrid.com::4a59c8e5-0aa6-4969-ada6-30e8e36eca3c" providerId="AD"/>
  <p188:author id="{45BB593B-BBF4-F8F3-E16F-92A4F5D726BE}" name="Nora Kraus" initials="NK" userId="S::Nora.Kraus@nationalgrid.com::054c1038-8908-46cf-b299-a7d5818e7dc6" providerId="AD"/>
  <p188:author id="{A52CEDA8-09A5-37E8-AFD1-E79D58B81143}" name="Nick Watson" initials="NW" userId="S::Nicholas.Watson2@nationalgrid.com::fe5e7baa-a099-4764-88a3-fe99c0f4bd5d" providerId="AD"/>
  <p188:author id="{451A4AD6-BC1E-4225-6AA3-98AE96177A15}" name="Steve Caldwell" initials="SC" userId="S::stephen.caldwell@us.nationalgrid.com::cb59e1b4-9ca8-45e0-b68c-c150f2f5c292" providerId="AD"/>
  <p188:author id="{7CD3BADF-9CDD-3764-4EF7-C6E9F6D8A7CC}" name="Leyla Singh" initials="LS" userId="S::Leyla.Singh1@nationalgrid.com::40636dcb-dd1e-4d6f-a04d-4c4a0ced84e7" providerId="AD"/>
  <p188:author id="{849596E6-4DB4-4682-053D-8B89E750A8EF}" name="Josh Tom" initials="JT" userId="S::josh.tom@nationalgrid.com::afc04d93-be3b-45ba-b7d3-84bf4220c66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80" autoAdjust="0"/>
    <p:restoredTop sz="94660"/>
  </p:normalViewPr>
  <p:slideViewPr>
    <p:cSldViewPr snapToGrid="0">
      <p:cViewPr varScale="1">
        <p:scale>
          <a:sx n="91" d="100"/>
          <a:sy n="91" d="100"/>
        </p:scale>
        <p:origin x="822" y="2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microsoft.com/office/2018/10/relationships/authors" Target="author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B93AD3-714A-4582-8221-4877B689F6C5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BCC044-81DD-4F19-BB88-7C1EA288E9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50944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8FF0A7-4CCD-4EFB-B6BA-0FD2389D9A2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41754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D20847-7083-A0DC-CA75-6E88132E80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B3E5987-484E-023B-E3AA-3F061B7D22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F696AC6-06E3-2A4D-9E84-31E7849420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237343-28D5-CC59-7055-E723A232A4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46238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8FF0A7-4CCD-4EFB-B6BA-0FD2389D9A2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28647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53C039-4861-3245-B384-01E0FF7BFA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9CFB3AE-184E-0A7C-D1D2-691B5625432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17FDA85-77DE-9DC4-539F-CACC8B3114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1E41D8-E330-A0DE-53C0-E7ABEA65FC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00135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DC8A3F-D5EE-F4C6-49C3-C756F74429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4AA9CCE-8116-5D0E-EEEB-8DEB6B203B1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FB8546B-8868-ACE8-CA65-6957E608026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5A56E6-F31D-6955-8798-5059DBB3DDF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12803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13" Type="http://schemas.openxmlformats.org/officeDocument/2006/relationships/image" Target="../media/image22.png"/><Relationship Id="rId3" Type="http://schemas.openxmlformats.org/officeDocument/2006/relationships/image" Target="../media/image12.png"/><Relationship Id="rId7" Type="http://schemas.openxmlformats.org/officeDocument/2006/relationships/image" Target="../media/image16.jpeg"/><Relationship Id="rId12" Type="http://schemas.openxmlformats.org/officeDocument/2006/relationships/image" Target="../media/image21.png"/><Relationship Id="rId2" Type="http://schemas.openxmlformats.org/officeDocument/2006/relationships/image" Target="../media/image11.sv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5.jpeg"/><Relationship Id="rId11" Type="http://schemas.openxmlformats.org/officeDocument/2006/relationships/image" Target="../media/image20.jpeg"/><Relationship Id="rId5" Type="http://schemas.openxmlformats.org/officeDocument/2006/relationships/image" Target="../media/image14.png"/><Relationship Id="rId10" Type="http://schemas.openxmlformats.org/officeDocument/2006/relationships/image" Target="../media/image19.jpeg"/><Relationship Id="rId4" Type="http://schemas.openxmlformats.org/officeDocument/2006/relationships/image" Target="../media/image13.png"/><Relationship Id="rId9" Type="http://schemas.openxmlformats.org/officeDocument/2006/relationships/image" Target="../media/image18.jpeg"/><Relationship Id="rId14" Type="http://schemas.openxmlformats.org/officeDocument/2006/relationships/image" Target="../media/image23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1.sv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5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sv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sv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9.png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6.sv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sv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9.png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emf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1.xml"/><Relationship Id="rId10" Type="http://schemas.openxmlformats.org/officeDocument/2006/relationships/image" Target="../media/image36.svg"/><Relationship Id="rId4" Type="http://schemas.openxmlformats.org/officeDocument/2006/relationships/tags" Target="../tags/tag10.xml"/><Relationship Id="rId9" Type="http://schemas.openxmlformats.org/officeDocument/2006/relationships/image" Target="../media/image35.png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5" Type="http://schemas.openxmlformats.org/officeDocument/2006/relationships/tags" Target="../tags/tag16.xml"/><Relationship Id="rId10" Type="http://schemas.openxmlformats.org/officeDocument/2006/relationships/image" Target="../media/image33.emf"/><Relationship Id="rId4" Type="http://schemas.openxmlformats.org/officeDocument/2006/relationships/tags" Target="../tags/tag15.xml"/><Relationship Id="rId9" Type="http://schemas.openxmlformats.org/officeDocument/2006/relationships/oleObject" Target="../embeddings/oleObject3.bin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10" Type="http://schemas.openxmlformats.org/officeDocument/2006/relationships/image" Target="../media/image33.emf"/><Relationship Id="rId4" Type="http://schemas.openxmlformats.org/officeDocument/2006/relationships/tags" Target="../tags/tag22.xml"/><Relationship Id="rId9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28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10" Type="http://schemas.openxmlformats.org/officeDocument/2006/relationships/image" Target="../media/image35.png"/><Relationship Id="rId4" Type="http://schemas.openxmlformats.org/officeDocument/2006/relationships/tags" Target="../tags/tag29.xml"/><Relationship Id="rId9" Type="http://schemas.openxmlformats.org/officeDocument/2006/relationships/image" Target="../media/image34.emf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34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5" Type="http://schemas.openxmlformats.org/officeDocument/2006/relationships/tags" Target="../tags/tag36.xml"/><Relationship Id="rId4" Type="http://schemas.openxmlformats.org/officeDocument/2006/relationships/tags" Target="../tags/tag35.xml"/><Relationship Id="rId9" Type="http://schemas.openxmlformats.org/officeDocument/2006/relationships/image" Target="../media/image34.emf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40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11" Type="http://schemas.openxmlformats.org/officeDocument/2006/relationships/image" Target="../media/image37.png"/><Relationship Id="rId5" Type="http://schemas.openxmlformats.org/officeDocument/2006/relationships/tags" Target="../tags/tag42.xml"/><Relationship Id="rId10" Type="http://schemas.openxmlformats.org/officeDocument/2006/relationships/image" Target="../media/image36.svg"/><Relationship Id="rId4" Type="http://schemas.openxmlformats.org/officeDocument/2006/relationships/tags" Target="../tags/tag41.xml"/><Relationship Id="rId9" Type="http://schemas.openxmlformats.org/officeDocument/2006/relationships/image" Target="../media/image34.emf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5" Type="http://schemas.openxmlformats.org/officeDocument/2006/relationships/tags" Target="../tags/tag48.xml"/><Relationship Id="rId10" Type="http://schemas.openxmlformats.org/officeDocument/2006/relationships/image" Target="../media/image34.emf"/><Relationship Id="rId4" Type="http://schemas.openxmlformats.org/officeDocument/2006/relationships/tags" Target="../tags/tag47.xml"/><Relationship Id="rId9" Type="http://schemas.openxmlformats.org/officeDocument/2006/relationships/oleObject" Target="../embeddings/oleObject8.bin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11" Type="http://schemas.openxmlformats.org/officeDocument/2006/relationships/image" Target="../media/image33.emf"/><Relationship Id="rId5" Type="http://schemas.openxmlformats.org/officeDocument/2006/relationships/tags" Target="../tags/tag55.xml"/><Relationship Id="rId10" Type="http://schemas.openxmlformats.org/officeDocument/2006/relationships/oleObject" Target="../embeddings/oleObject9.bin"/><Relationship Id="rId4" Type="http://schemas.openxmlformats.org/officeDocument/2006/relationships/tags" Target="../tags/tag54.xml"/><Relationship Id="rId9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11" Type="http://schemas.openxmlformats.org/officeDocument/2006/relationships/image" Target="../media/image33.emf"/><Relationship Id="rId5" Type="http://schemas.openxmlformats.org/officeDocument/2006/relationships/tags" Target="../tags/tag63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62.xml"/><Relationship Id="rId9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1" Type="http://schemas.openxmlformats.org/officeDocument/2006/relationships/image" Target="../media/image33.emf"/><Relationship Id="rId5" Type="http://schemas.openxmlformats.org/officeDocument/2006/relationships/tags" Target="../tags/tag71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70.xml"/><Relationship Id="rId9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11" Type="http://schemas.openxmlformats.org/officeDocument/2006/relationships/image" Target="../media/image38.emf"/><Relationship Id="rId5" Type="http://schemas.openxmlformats.org/officeDocument/2006/relationships/tags" Target="../tags/tag79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78.xml"/><Relationship Id="rId9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image" Target="../media/image33.emf"/><Relationship Id="rId5" Type="http://schemas.openxmlformats.org/officeDocument/2006/relationships/tags" Target="../tags/tag87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86.xml"/><Relationship Id="rId9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93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tags" Target="../tags/tag96.xml"/><Relationship Id="rId5" Type="http://schemas.openxmlformats.org/officeDocument/2006/relationships/tags" Target="../tags/tag95.xml"/><Relationship Id="rId4" Type="http://schemas.openxmlformats.org/officeDocument/2006/relationships/tags" Target="../tags/tag94.xml"/><Relationship Id="rId9" Type="http://schemas.openxmlformats.org/officeDocument/2006/relationships/image" Target="../media/image34.emf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7" Type="http://schemas.openxmlformats.org/officeDocument/2006/relationships/image" Target="../media/image34.emf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0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5" Type="http://schemas.openxmlformats.org/officeDocument/2006/relationships/image" Target="../media/image34.emf"/><Relationship Id="rId4" Type="http://schemas.openxmlformats.org/officeDocument/2006/relationships/oleObject" Target="../embeddings/oleObject16.bin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7"/>
            <a:ext cx="7392828" cy="25029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A62F82BF-1E68-D14F-80C2-274D670A6789}"/>
              </a:ext>
            </a:extLst>
          </p:cNvPr>
          <p:cNvSpPr/>
          <p:nvPr/>
        </p:nvSpPr>
        <p:spPr bwMode="auto">
          <a:xfrm>
            <a:off x="0" y="-12668"/>
            <a:ext cx="111211" cy="6877307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US" sz="18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DC06BFF-C4B9-4E0C-94AB-DAB9FAB474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riangle 1">
            <a:extLst>
              <a:ext uri="{FF2B5EF4-FFF2-40B4-BE49-F238E27FC236}">
                <a16:creationId xmlns:a16="http://schemas.microsoft.com/office/drawing/2014/main" id="{B329BCB7-67CF-4BE7-9AF9-9233DF909EF1}"/>
              </a:ext>
            </a:extLst>
          </p:cNvPr>
          <p:cNvSpPr/>
          <p:nvPr/>
        </p:nvSpPr>
        <p:spPr bwMode="auto">
          <a:xfrm rot="5400000">
            <a:off x="-30006" y="485265"/>
            <a:ext cx="527233" cy="270233"/>
          </a:xfrm>
          <a:prstGeom prst="triangl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99924514"/>
      </p:ext>
    </p:extLst>
  </p:cSld>
  <p:clrMapOvr>
    <a:masterClrMapping/>
  </p:clrMapOvr>
  <p:transition>
    <p:fade/>
  </p:transition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9"/>
            <a:ext cx="73912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6"/>
            <a:ext cx="739282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415EBFD-084A-4878-8287-2E1A3FCE8D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2" y="6320503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255" algn="l"/>
              </a:tabLst>
            </a:pPr>
            <a:r>
              <a:rPr lang="fr-FR"/>
              <a:t>IT Updates - September 2019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308CCAE-A613-4894-962F-B9332D979AE1}"/>
              </a:ext>
            </a:extLst>
          </p:cNvPr>
          <p:cNvGrpSpPr/>
          <p:nvPr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8" name="Guidance note">
              <a:extLst>
                <a:ext uri="{FF2B5EF4-FFF2-40B4-BE49-F238E27FC236}">
                  <a16:creationId xmlns:a16="http://schemas.microsoft.com/office/drawing/2014/main" id="{753381CB-CFAD-4C37-9043-05C8A52380A7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FA04F91-854A-4895-BD97-24C8BB928F41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0" name="Picture 3">
                <a:extLst>
                  <a:ext uri="{FF2B5EF4-FFF2-40B4-BE49-F238E27FC236}">
                    <a16:creationId xmlns:a16="http://schemas.microsoft.com/office/drawing/2014/main" id="{9CABB711-E1AB-41A2-A779-C8967E1B901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" name="Rounded Rectangle 20">
                <a:extLst>
                  <a:ext uri="{FF2B5EF4-FFF2-40B4-BE49-F238E27FC236}">
                    <a16:creationId xmlns:a16="http://schemas.microsoft.com/office/drawing/2014/main" id="{702CAAD7-0480-4B1D-A46C-986161320307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37774221"/>
      </p:ext>
    </p:extLst>
  </p:cSld>
  <p:clrMapOvr>
    <a:masterClrMapping/>
  </p:clrMapOvr>
  <p:transition>
    <p:fade/>
  </p:transition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rat Priorit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A24D78C-2E58-88F5-75B6-60975EEE7971}"/>
              </a:ext>
            </a:extLst>
          </p:cNvPr>
          <p:cNvCxnSpPr>
            <a:cxnSpLocks/>
          </p:cNvCxnSpPr>
          <p:nvPr/>
        </p:nvCxnSpPr>
        <p:spPr bwMode="auto">
          <a:xfrm flipH="1">
            <a:off x="10346267" y="3627397"/>
            <a:ext cx="184573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7452FBD-BB47-25AB-736A-288A003AABA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00541" y="1225145"/>
            <a:ext cx="4808335" cy="4808335"/>
          </a:xfrm>
          <a:prstGeom prst="rect">
            <a:avLst/>
          </a:prstGeom>
        </p:spPr>
      </p:pic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353A63C8-B8C8-1207-35EA-02FB79104A1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7"/>
            <a:ext cx="6462796" cy="25029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2761902"/>
      </p:ext>
    </p:extLst>
  </p:cSld>
  <p:clrMapOvr>
    <a:masterClrMapping/>
  </p:clrMapOvr>
  <p:transition>
    <p:fade/>
  </p:transition>
  <p:hf sldNum="0"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rat Priorit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19A2CEB-3B32-03C7-8823-CAF4720E4D34}"/>
              </a:ext>
            </a:extLst>
          </p:cNvPr>
          <p:cNvCxnSpPr>
            <a:cxnSpLocks/>
          </p:cNvCxnSpPr>
          <p:nvPr/>
        </p:nvCxnSpPr>
        <p:spPr bwMode="auto">
          <a:xfrm flipH="1">
            <a:off x="0" y="5746095"/>
            <a:ext cx="12192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72CA272-A100-862F-1692-5868991304F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3" y="1424518"/>
            <a:ext cx="11329827" cy="25029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AFB0A05-E4B4-1F0C-5E32-9D64BAFF7DF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7405" y="4968833"/>
            <a:ext cx="6462796" cy="1554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0111457"/>
      </p:ext>
    </p:extLst>
  </p:cSld>
  <p:clrMapOvr>
    <a:masterClrMapping/>
  </p:clrMapOvr>
  <p:transition>
    <p:fade/>
  </p:transition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trat Priorit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72CA272-A100-862F-1692-5868991304F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3" y="1424518"/>
            <a:ext cx="11329827" cy="25029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7" name="Picture 6" descr="Shape&#10;&#10;Description automatically generated with low confidence">
            <a:extLst>
              <a:ext uri="{FF2B5EF4-FFF2-40B4-BE49-F238E27FC236}">
                <a16:creationId xmlns:a16="http://schemas.microsoft.com/office/drawing/2014/main" id="{6FC860BF-7778-49EC-BEA7-6FAA87B15AD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5674" y="4968834"/>
            <a:ext cx="1548000" cy="15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694120"/>
      </p:ext>
    </p:extLst>
  </p:cSld>
  <p:clrMapOvr>
    <a:masterClrMapping/>
  </p:clrMapOvr>
  <p:transition>
    <p:fade/>
  </p:transition>
  <p:hf sldNum="0"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trat Priorit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72CA272-A100-862F-1692-5868991304F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3" y="1424518"/>
            <a:ext cx="11329827" cy="25029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FC860BF-7778-49EC-BEA7-6FAA87B15AD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205674" y="4968834"/>
            <a:ext cx="1548000" cy="15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462845"/>
      </p:ext>
    </p:extLst>
  </p:cSld>
  <p:clrMapOvr>
    <a:masterClrMapping/>
  </p:clrMapOvr>
  <p:transition>
    <p:fade/>
  </p:transition>
  <p:hf sldNum="0"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trat Priorit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72CA272-A100-862F-1692-5868991304F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3" y="1424518"/>
            <a:ext cx="11329827" cy="25029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FC860BF-7778-49EC-BEA7-6FAA87B15AD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205674" y="4968834"/>
            <a:ext cx="1548000" cy="15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8159325"/>
      </p:ext>
    </p:extLst>
  </p:cSld>
  <p:clrMapOvr>
    <a:masterClrMapping/>
  </p:clrMapOvr>
  <p:transition>
    <p:fade/>
  </p:transition>
  <p:hf sldNum="0"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Strat Priorit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72CA272-A100-862F-1692-5868991304F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3" y="1424518"/>
            <a:ext cx="11329827" cy="25029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FC860BF-7778-49EC-BEA7-6FAA87B15AD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205674" y="4968834"/>
            <a:ext cx="1548000" cy="15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1878935"/>
      </p:ext>
    </p:extLst>
  </p:cSld>
  <p:clrMapOvr>
    <a:masterClrMapping/>
  </p:clrMapOvr>
  <p:transition>
    <p:fade/>
  </p:transition>
  <p:hf sldNum="0"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Personas + CF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656DB56-103B-1E0B-9247-F09C71F1F03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087" y="5309509"/>
            <a:ext cx="4789447" cy="1548492"/>
          </a:xfrm>
          <a:prstGeom prst="rect">
            <a:avLst/>
          </a:prstGeom>
        </p:spPr>
      </p:pic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C58CE295-2B03-8600-1F61-FD592B30406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3" y="1424518"/>
            <a:ext cx="11329827" cy="25029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0513DAB-BEF3-AEEF-C3F0-1C96DF7A406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1576" y="5761913"/>
            <a:ext cx="3384641" cy="739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5260190"/>
      </p:ext>
    </p:extLst>
  </p:cSld>
  <p:clrMapOvr>
    <a:masterClrMapping/>
  </p:clrMapOvr>
  <p:transition>
    <p:fade/>
  </p:transition>
  <p:hf sldNum="0"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Person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656DB56-103B-1E0B-9247-F09C71F1F03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07878" y="4609133"/>
            <a:ext cx="6955692" cy="2248868"/>
          </a:xfrm>
          <a:prstGeom prst="rect">
            <a:avLst/>
          </a:prstGeom>
        </p:spPr>
      </p:pic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C58CE295-2B03-8600-1F61-FD592B30406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3" y="1424518"/>
            <a:ext cx="11329827" cy="25029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232713"/>
      </p:ext>
    </p:extLst>
  </p:cSld>
  <p:clrMapOvr>
    <a:masterClrMapping/>
  </p:clrMapOvr>
  <p:transition>
    <p:fade/>
  </p:transition>
  <p:hf sldNum="0"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255" algn="l"/>
              </a:tabLst>
            </a:pPr>
            <a:r>
              <a:rPr lang="fr-FR"/>
              <a:t>IT Updates - September 2019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7874268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0354083-F42F-4647-BF2B-B661A48EC015}"/>
              </a:ext>
            </a:extLst>
          </p:cNvPr>
          <p:cNvSpPr/>
          <p:nvPr/>
        </p:nvSpPr>
        <p:spPr bwMode="auto">
          <a:xfrm>
            <a:off x="6227763" y="0"/>
            <a:ext cx="5964237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US" sz="18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7"/>
            <a:ext cx="5437026" cy="25029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A62F82BF-1E68-D14F-80C2-274D670A6789}"/>
              </a:ext>
            </a:extLst>
          </p:cNvPr>
          <p:cNvSpPr/>
          <p:nvPr/>
        </p:nvSpPr>
        <p:spPr bwMode="auto">
          <a:xfrm>
            <a:off x="0" y="-12668"/>
            <a:ext cx="111211" cy="6877307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US" sz="18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12" name="Triangle 1">
            <a:extLst>
              <a:ext uri="{FF2B5EF4-FFF2-40B4-BE49-F238E27FC236}">
                <a16:creationId xmlns:a16="http://schemas.microsoft.com/office/drawing/2014/main" id="{5818D1DB-C458-4187-A243-97134B2786AD}"/>
              </a:ext>
            </a:extLst>
          </p:cNvPr>
          <p:cNvSpPr/>
          <p:nvPr/>
        </p:nvSpPr>
        <p:spPr bwMode="auto">
          <a:xfrm rot="5400000">
            <a:off x="-30006" y="485265"/>
            <a:ext cx="527233" cy="270233"/>
          </a:xfrm>
          <a:prstGeom prst="triangl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89572685"/>
      </p:ext>
    </p:extLst>
  </p:cSld>
  <p:clrMapOvr>
    <a:masterClrMapping/>
  </p:clrMapOvr>
  <p:transition>
    <p:fade/>
  </p:transition>
  <p:hf sldNum="0"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8"/>
            <a:ext cx="73912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5"/>
            <a:ext cx="739282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415EBFD-084A-4878-8287-2E1A3FCE8D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255" algn="l"/>
              </a:tabLst>
            </a:pPr>
            <a:r>
              <a:rPr lang="fr-FR"/>
              <a:t>IT Updates - September 2019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308CCAE-A613-4894-962F-B9332D979AE1}"/>
              </a:ext>
            </a:extLst>
          </p:cNvPr>
          <p:cNvGrpSpPr/>
          <p:nvPr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8" name="Guidance note">
              <a:extLst>
                <a:ext uri="{FF2B5EF4-FFF2-40B4-BE49-F238E27FC236}">
                  <a16:creationId xmlns:a16="http://schemas.microsoft.com/office/drawing/2014/main" id="{753381CB-CFAD-4C37-9043-05C8A52380A7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FA04F91-854A-4895-BD97-24C8BB928F41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0" name="Picture 3">
                <a:extLst>
                  <a:ext uri="{FF2B5EF4-FFF2-40B4-BE49-F238E27FC236}">
                    <a16:creationId xmlns:a16="http://schemas.microsoft.com/office/drawing/2014/main" id="{9CABB711-E1AB-41A2-A779-C8967E1B901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" name="Rounded Rectangle 20">
                <a:extLst>
                  <a:ext uri="{FF2B5EF4-FFF2-40B4-BE49-F238E27FC236}">
                    <a16:creationId xmlns:a16="http://schemas.microsoft.com/office/drawing/2014/main" id="{702CAAD7-0480-4B1D-A46C-986161320307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35081858"/>
      </p:ext>
    </p:extLst>
  </p:cSld>
  <p:clrMapOvr>
    <a:masterClrMapping/>
  </p:clrMapOvr>
  <p:hf sldNum="0"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9F52CBFD-699B-45C5-A157-E323D3A6D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416668"/>
            <a:ext cx="5424817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54D8696-31B7-4DB8-B15D-873BDA4653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5184" y="1416668"/>
            <a:ext cx="5424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42441E-8F2C-4081-9DA0-77F80225EC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EB7EAF22-09C0-49C9-9811-75AF4CD216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255" algn="l"/>
              </a:tabLst>
            </a:pPr>
            <a:r>
              <a:rPr lang="fr-FR"/>
              <a:t>IT Updates - September 2019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6800D90-E2FB-42D1-8CB6-1955ED546129}"/>
              </a:ext>
            </a:extLst>
          </p:cNvPr>
          <p:cNvGrpSpPr/>
          <p:nvPr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5" name="Guidance note">
              <a:extLst>
                <a:ext uri="{FF2B5EF4-FFF2-40B4-BE49-F238E27FC236}">
                  <a16:creationId xmlns:a16="http://schemas.microsoft.com/office/drawing/2014/main" id="{819ED999-6999-46F4-B7A1-EFF10837A570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1B633B5A-3193-4605-B154-E0B8CB89CCB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7" name="Picture 3">
                <a:extLst>
                  <a:ext uri="{FF2B5EF4-FFF2-40B4-BE49-F238E27FC236}">
                    <a16:creationId xmlns:a16="http://schemas.microsoft.com/office/drawing/2014/main" id="{585F499E-E2AE-40D1-BBDA-189BC79FDB9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20">
                <a:extLst>
                  <a:ext uri="{FF2B5EF4-FFF2-40B4-BE49-F238E27FC236}">
                    <a16:creationId xmlns:a16="http://schemas.microsoft.com/office/drawing/2014/main" id="{752EE2C4-E482-438A-9070-A14C38B6146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60801246"/>
      </p:ext>
    </p:extLst>
  </p:cSld>
  <p:clrMapOvr>
    <a:masterClrMapping/>
  </p:clrMapOvr>
  <p:hf sldNum="0"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0C88B5B-AAF5-47BD-AD69-1EE3F9438DF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416668"/>
            <a:ext cx="5424817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37301" y="1416051"/>
            <a:ext cx="5402583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44373E4D-07C5-468F-A7BD-C7AD22C776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255" algn="l"/>
              </a:tabLst>
            </a:pPr>
            <a:r>
              <a:rPr lang="fr-FR"/>
              <a:t>IT Updates - September 2019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BC6F12F-E651-47EF-873C-C4BCFD73026C}"/>
              </a:ext>
            </a:extLst>
          </p:cNvPr>
          <p:cNvGrpSpPr/>
          <p:nvPr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34" name="Guidance note">
              <a:extLst>
                <a:ext uri="{FF2B5EF4-FFF2-40B4-BE49-F238E27FC236}">
                  <a16:creationId xmlns:a16="http://schemas.microsoft.com/office/drawing/2014/main" id="{F95C3436-B6EE-47A5-8CDF-DFC1CEE6A784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F50E3572-442E-4063-AED5-829AB7EAA7C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6" name="Picture 3">
                <a:extLst>
                  <a:ext uri="{FF2B5EF4-FFF2-40B4-BE49-F238E27FC236}">
                    <a16:creationId xmlns:a16="http://schemas.microsoft.com/office/drawing/2014/main" id="{97890FFF-8342-4E6A-B73E-44D0FCF7A25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7" name="Rounded Rectangle 20">
                <a:extLst>
                  <a:ext uri="{FF2B5EF4-FFF2-40B4-BE49-F238E27FC236}">
                    <a16:creationId xmlns:a16="http://schemas.microsoft.com/office/drawing/2014/main" id="{C5F8D64F-558B-4EE8-B969-C40A6125D25D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9" name="Round Diagonal Corner Rectangle 4">
            <a:extLst>
              <a:ext uri="{FF2B5EF4-FFF2-40B4-BE49-F238E27FC236}">
                <a16:creationId xmlns:a16="http://schemas.microsoft.com/office/drawing/2014/main" id="{DEEFE2A4-9E60-4329-8F38-C8621FA2D86F}"/>
              </a:ext>
            </a:extLst>
          </p:cNvPr>
          <p:cNvSpPr/>
          <p:nvPr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136899730"/>
      </p:ext>
    </p:extLst>
  </p:cSld>
  <p:clrMapOvr>
    <a:masterClrMapping/>
  </p:clrMapOvr>
  <p:hf sldNum="0"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5" y="1416051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8"/>
            <a:ext cx="3456319" cy="2872325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8"/>
            <a:ext cx="3456000" cy="2872325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255" algn="l"/>
              </a:tabLst>
            </a:pPr>
            <a:r>
              <a:rPr lang="fr-FR"/>
              <a:t>IT Updates - September 2019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9289770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8"/>
            <a:ext cx="3456319" cy="2872325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800" y="1416668"/>
            <a:ext cx="3456000" cy="2872325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5281" y="1416667"/>
            <a:ext cx="3456000" cy="2092880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8401A2-6451-4E45-96E0-C555AE389B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1993E21-89C4-43F1-B0DA-3D71670B0B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255" algn="l"/>
              </a:tabLst>
            </a:pPr>
            <a:r>
              <a:rPr lang="fr-FR"/>
              <a:t>IT Updates - September 2019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2EC9A99-CBD6-4BA5-A71D-10F2DFE9CFA1}"/>
              </a:ext>
            </a:extLst>
          </p:cNvPr>
          <p:cNvGrpSpPr/>
          <p:nvPr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6ADE5D12-11A2-4CCE-81CB-203511BF5C3F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E081217D-4EA5-40B0-9EA6-FAD35195E17C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464DB892-B193-4994-87A1-F3005D1BEA0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5" name="Rounded Rectangle 20">
                <a:extLst>
                  <a:ext uri="{FF2B5EF4-FFF2-40B4-BE49-F238E27FC236}">
                    <a16:creationId xmlns:a16="http://schemas.microsoft.com/office/drawing/2014/main" id="{4CE544B9-8DF2-4C6C-B878-A4384379E280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75109291"/>
      </p:ext>
    </p:extLst>
  </p:cSld>
  <p:clrMapOvr>
    <a:masterClrMapping/>
  </p:clrMapOvr>
  <p:hf sldNum="0"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 +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7"/>
            <a:ext cx="3456000" cy="3552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800"/>
              </a:spcAft>
              <a:defRPr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2133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21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8"/>
            <a:ext cx="3456000" cy="2872325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8"/>
            <a:ext cx="3456000" cy="2872325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96A342-D873-47FF-A0CB-ED762BAF6C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F1F48095-532B-4817-BFFB-AF6AF6A81C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255" algn="l"/>
              </a:tabLst>
            </a:pPr>
            <a:r>
              <a:rPr lang="fr-FR"/>
              <a:t>IT Updates - September 2019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2F101B0-C15C-4E8B-BCD8-94C6F9FA8B71}"/>
              </a:ext>
            </a:extLst>
          </p:cNvPr>
          <p:cNvGrpSpPr/>
          <p:nvPr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7" name="Guidance note">
              <a:extLst>
                <a:ext uri="{FF2B5EF4-FFF2-40B4-BE49-F238E27FC236}">
                  <a16:creationId xmlns:a16="http://schemas.microsoft.com/office/drawing/2014/main" id="{5019EF20-6B36-43C9-BDEB-3621A64EB545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B21C0FE1-B9EF-4B93-932D-4FD8C477B3AE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9" name="Picture 3">
                <a:extLst>
                  <a:ext uri="{FF2B5EF4-FFF2-40B4-BE49-F238E27FC236}">
                    <a16:creationId xmlns:a16="http://schemas.microsoft.com/office/drawing/2014/main" id="{7C1D4B64-6112-4E50-93D6-4D6DF530DF8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0" name="Rounded Rectangle 20">
                <a:extLst>
                  <a:ext uri="{FF2B5EF4-FFF2-40B4-BE49-F238E27FC236}">
                    <a16:creationId xmlns:a16="http://schemas.microsoft.com/office/drawing/2014/main" id="{4E55863B-5F7C-47FB-BB27-4E84CB7B252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77049812"/>
      </p:ext>
    </p:extLst>
  </p:cSld>
  <p:clrMapOvr>
    <a:masterClrMapping/>
  </p:clrMapOvr>
  <p:hf sldNum="0"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 +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8"/>
            <a:ext cx="3456000" cy="2872325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AFD44EC-D9DC-4A2D-91EF-9F07DE3F1CE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1999" y="1416668"/>
            <a:ext cx="3456000" cy="2872325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D6B893-85E5-4E35-9461-E7E97ADE1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2177FB2-8BB7-4D7D-AD52-7C859E8DFE4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04000" y="1416667"/>
            <a:ext cx="3456000" cy="3552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800"/>
              </a:spcAft>
              <a:defRPr sz="240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2133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21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CC0BFDE7-E46E-4D15-A8FA-219C8CB4D4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255" algn="l"/>
              </a:tabLst>
            </a:pPr>
            <a:r>
              <a:rPr lang="fr-FR"/>
              <a:t>IT Updates - September 2019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6F0B578-E378-46F0-A4C9-1552A629C76D}"/>
              </a:ext>
            </a:extLst>
          </p:cNvPr>
          <p:cNvGrpSpPr/>
          <p:nvPr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8" name="Guidance note">
              <a:extLst>
                <a:ext uri="{FF2B5EF4-FFF2-40B4-BE49-F238E27FC236}">
                  <a16:creationId xmlns:a16="http://schemas.microsoft.com/office/drawing/2014/main" id="{F2DEB423-320E-404F-8B3B-CCFAFB4B5554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3BE6250-E57A-419B-A962-5A85632A71B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0" name="Picture 3">
                <a:extLst>
                  <a:ext uri="{FF2B5EF4-FFF2-40B4-BE49-F238E27FC236}">
                    <a16:creationId xmlns:a16="http://schemas.microsoft.com/office/drawing/2014/main" id="{3815D591-B560-4B71-ACE3-786F10B3EDF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1" name="Rounded Rectangle 20">
                <a:extLst>
                  <a:ext uri="{FF2B5EF4-FFF2-40B4-BE49-F238E27FC236}">
                    <a16:creationId xmlns:a16="http://schemas.microsoft.com/office/drawing/2014/main" id="{D9C85BF9-7030-4B6C-A627-472B55A9DB3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70988679"/>
      </p:ext>
    </p:extLst>
  </p:cSld>
  <p:clrMapOvr>
    <a:masterClrMapping/>
  </p:clrMapOvr>
  <p:hf sldNum="0"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24DF50-EEA0-4A06-8714-8D21D9F9F1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255" algn="l"/>
              </a:tabLst>
            </a:pPr>
            <a:r>
              <a:rPr lang="fr-FR"/>
              <a:t>IT Updates - September 2019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8"/>
            <a:ext cx="7392828" cy="25032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54781872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83EBF3A2-2E7C-4F57-BC5D-3417991A9CB8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304000" y="1416667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7845B65-2392-4819-94E4-E3EB31C4C45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8"/>
            <a:ext cx="7392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55748E-1187-40E6-90FF-F8CB13BAB0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1060961F-7E65-4122-8275-120EE663A9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255" algn="l"/>
              </a:tabLst>
            </a:pPr>
            <a:r>
              <a:rPr lang="fr-FR"/>
              <a:t>IT Updates - September 2019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D1AD628-1E99-41AE-A4DE-E8D47E3F2A00}"/>
              </a:ext>
            </a:extLst>
          </p:cNvPr>
          <p:cNvGrpSpPr/>
          <p:nvPr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6" name="Guidance note">
              <a:extLst>
                <a:ext uri="{FF2B5EF4-FFF2-40B4-BE49-F238E27FC236}">
                  <a16:creationId xmlns:a16="http://schemas.microsoft.com/office/drawing/2014/main" id="{C3AD16BC-865F-4730-B576-3924C11BBB5C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918825A-E661-4165-AFAF-DF026ACCBF7D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8" name="Picture 3">
                <a:extLst>
                  <a:ext uri="{FF2B5EF4-FFF2-40B4-BE49-F238E27FC236}">
                    <a16:creationId xmlns:a16="http://schemas.microsoft.com/office/drawing/2014/main" id="{D670EEFD-71A1-460B-93B0-010CABE4F6E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9" name="Rounded Rectangle 20">
                <a:extLst>
                  <a:ext uri="{FF2B5EF4-FFF2-40B4-BE49-F238E27FC236}">
                    <a16:creationId xmlns:a16="http://schemas.microsoft.com/office/drawing/2014/main" id="{518490A9-DA83-4553-86AD-17100E2D20A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1" name="Guidance note">
            <a:extLst>
              <a:ext uri="{FF2B5EF4-FFF2-40B4-BE49-F238E27FC236}">
                <a16:creationId xmlns:a16="http://schemas.microsoft.com/office/drawing/2014/main" id="{00BC0673-5213-4DA3-BE67-C1DB97C4A10F}"/>
              </a:ext>
            </a:extLst>
          </p:cNvPr>
          <p:cNvSpPr/>
          <p:nvPr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2321178972"/>
      </p:ext>
    </p:extLst>
  </p:cSld>
  <p:clrMapOvr>
    <a:masterClrMapping/>
  </p:clrMapOvr>
  <p:hf sldNum="0"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FC37DAF-12F7-4FE3-99E2-B1BC731C4CD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8"/>
            <a:ext cx="3456000" cy="2872325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EC6E2C5-7988-4109-B04E-4C5B434E0D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68000" y="1416668"/>
            <a:ext cx="3456000" cy="2872325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hart Placeholder 5">
            <a:extLst>
              <a:ext uri="{FF2B5EF4-FFF2-40B4-BE49-F238E27FC236}">
                <a16:creationId xmlns:a16="http://schemas.microsoft.com/office/drawing/2014/main" id="{59BB4BB1-10D0-4A42-B2B1-1F058F0E5999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304000" y="1416667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5803B18-A6C4-48D8-9A57-624954E4C4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03A40AB7-029F-4311-80FC-0AAAE2F69D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255" algn="l"/>
              </a:tabLst>
            </a:pPr>
            <a:r>
              <a:rPr lang="fr-FR"/>
              <a:t>IT Updates - September 2019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D78705A-DCC5-4C39-8BC7-0071FE0B6E9D}"/>
              </a:ext>
            </a:extLst>
          </p:cNvPr>
          <p:cNvGrpSpPr/>
          <p:nvPr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8" name="Guidance note">
              <a:extLst>
                <a:ext uri="{FF2B5EF4-FFF2-40B4-BE49-F238E27FC236}">
                  <a16:creationId xmlns:a16="http://schemas.microsoft.com/office/drawing/2014/main" id="{C6E2522F-9DAA-41D3-8636-CA2AD6DF26DE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F8CA62A-2C50-48E5-8954-5C3104C2B475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1" name="Picture 3">
                <a:extLst>
                  <a:ext uri="{FF2B5EF4-FFF2-40B4-BE49-F238E27FC236}">
                    <a16:creationId xmlns:a16="http://schemas.microsoft.com/office/drawing/2014/main" id="{37ACEAC6-5EC9-49C5-A059-7A0DC1FCC3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ounded Rectangle 20">
                <a:extLst>
                  <a:ext uri="{FF2B5EF4-FFF2-40B4-BE49-F238E27FC236}">
                    <a16:creationId xmlns:a16="http://schemas.microsoft.com/office/drawing/2014/main" id="{13E90BA5-7852-4BC3-A7C6-1D57B4B4776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Guidance note">
            <a:extLst>
              <a:ext uri="{FF2B5EF4-FFF2-40B4-BE49-F238E27FC236}">
                <a16:creationId xmlns:a16="http://schemas.microsoft.com/office/drawing/2014/main" id="{395CA386-D2EE-45ED-B3EB-20DC32FFECC9}"/>
              </a:ext>
            </a:extLst>
          </p:cNvPr>
          <p:cNvSpPr/>
          <p:nvPr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3863197745"/>
      </p:ext>
    </p:extLst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7"/>
            <a:ext cx="7392828" cy="25029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A62F82BF-1E68-D14F-80C2-274D670A6789}"/>
              </a:ext>
            </a:extLst>
          </p:cNvPr>
          <p:cNvSpPr/>
          <p:nvPr/>
        </p:nvSpPr>
        <p:spPr bwMode="auto">
          <a:xfrm>
            <a:off x="0" y="-12668"/>
            <a:ext cx="111211" cy="6877307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US" sz="18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10" name="Triangle 1">
            <a:extLst>
              <a:ext uri="{FF2B5EF4-FFF2-40B4-BE49-F238E27FC236}">
                <a16:creationId xmlns:a16="http://schemas.microsoft.com/office/drawing/2014/main" id="{5892D43B-1B01-4216-9904-39396DD7E279}"/>
              </a:ext>
            </a:extLst>
          </p:cNvPr>
          <p:cNvSpPr/>
          <p:nvPr/>
        </p:nvSpPr>
        <p:spPr bwMode="auto">
          <a:xfrm rot="5400000">
            <a:off x="-30006" y="485265"/>
            <a:ext cx="527233" cy="270233"/>
          </a:xfrm>
          <a:prstGeom prst="triangl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99160838"/>
      </p:ext>
    </p:extLst>
  </p:cSld>
  <p:clrMapOvr>
    <a:masterClrMapping/>
  </p:clrMapOvr>
  <p:transition>
    <p:fade/>
  </p:transition>
  <p:hf sldNum="0"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91E4EDE-F73E-4D47-BE09-9DA6C99359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255" algn="l"/>
              </a:tabLst>
            </a:pPr>
            <a:r>
              <a:rPr lang="fr-FR"/>
              <a:t>IT Updates - September 2019</a:t>
            </a:r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/>
        </p:nvSpPr>
        <p:spPr>
          <a:xfrm>
            <a:off x="12275233" y="1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876412664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rt Placeholder 5"/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73914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AF0A20-4521-4105-B244-E4D7D8DC46D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8"/>
            <a:ext cx="3456000" cy="2872325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F3D2E9-D3DF-4073-8942-F51EDC9F9B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B8E8D2DA-923C-46FD-AE23-D8997A885C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255" algn="l"/>
              </a:tabLst>
            </a:pPr>
            <a:r>
              <a:rPr lang="fr-FR"/>
              <a:t>IT Updates - September 2019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54C5F39-EE55-4150-AE38-A7A999F3BA25}"/>
              </a:ext>
            </a:extLst>
          </p:cNvPr>
          <p:cNvGrpSpPr/>
          <p:nvPr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5" name="Guidance note">
              <a:extLst>
                <a:ext uri="{FF2B5EF4-FFF2-40B4-BE49-F238E27FC236}">
                  <a16:creationId xmlns:a16="http://schemas.microsoft.com/office/drawing/2014/main" id="{025D7FB3-CF69-4E08-8922-003EB4E3975F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528045C4-A569-4BC0-A2C6-680DA682611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7" name="Picture 3">
                <a:extLst>
                  <a:ext uri="{FF2B5EF4-FFF2-40B4-BE49-F238E27FC236}">
                    <a16:creationId xmlns:a16="http://schemas.microsoft.com/office/drawing/2014/main" id="{0FD70A2C-539C-4A23-AF36-00B08ACFA1A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20">
                <a:extLst>
                  <a:ext uri="{FF2B5EF4-FFF2-40B4-BE49-F238E27FC236}">
                    <a16:creationId xmlns:a16="http://schemas.microsoft.com/office/drawing/2014/main" id="{A36B5CC0-766A-45B5-97A8-7C56DFCFC8EE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9" name="Guidance note">
            <a:extLst>
              <a:ext uri="{FF2B5EF4-FFF2-40B4-BE49-F238E27FC236}">
                <a16:creationId xmlns:a16="http://schemas.microsoft.com/office/drawing/2014/main" id="{9FC3F62A-60AD-47BF-8C6C-EA4FD3505A95}"/>
              </a:ext>
            </a:extLst>
          </p:cNvPr>
          <p:cNvSpPr/>
          <p:nvPr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866538966"/>
      </p:ext>
    </p:extLst>
  </p:cSld>
  <p:clrMapOvr>
    <a:masterClrMapping/>
  </p:clrMapOvr>
  <p:hf sldNum="0"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5B49068-D080-4ACE-BA89-F101FF74DD6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8"/>
            <a:ext cx="3456000" cy="2872325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A230DD3F-5BD6-47DB-88DD-B17645228A0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8"/>
            <a:ext cx="3456000" cy="2872325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5F1110-D46C-45FE-84D5-25150A01F2E3}"/>
              </a:ext>
            </a:extLst>
          </p:cNvPr>
          <p:cNvCxnSpPr>
            <a:cxnSpLocks/>
          </p:cNvCxnSpPr>
          <p:nvPr/>
        </p:nvCxnSpPr>
        <p:spPr>
          <a:xfrm>
            <a:off x="431800" y="2957420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544F918-5B29-4CA8-B698-287CEE5C612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1801" y="1416000"/>
            <a:ext cx="1325715" cy="14400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C926757-B24B-4CFA-A750-5FFEEEF69A8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3081529"/>
            <a:ext cx="3456517" cy="146719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867"/>
            </a:lvl1pPr>
            <a:lvl2pPr>
              <a:spcBef>
                <a:spcPts val="0"/>
              </a:spcBef>
              <a:spcAft>
                <a:spcPts val="267"/>
              </a:spcAft>
              <a:defRPr sz="18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6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6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341570-0A8C-4A6D-9F75-3FF3D83330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65364470-3814-46DA-81B6-9B6ABEDC8B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255" algn="l"/>
              </a:tabLst>
            </a:pPr>
            <a:r>
              <a:rPr lang="fr-FR"/>
              <a:t>IT Updates - September 2019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E9C2C4D-4ACC-4F73-A4B9-04807E3ACA87}"/>
              </a:ext>
            </a:extLst>
          </p:cNvPr>
          <p:cNvGrpSpPr/>
          <p:nvPr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9" name="Guidance note">
              <a:extLst>
                <a:ext uri="{FF2B5EF4-FFF2-40B4-BE49-F238E27FC236}">
                  <a16:creationId xmlns:a16="http://schemas.microsoft.com/office/drawing/2014/main" id="{E9DBA4A0-469B-42D9-A384-66D0F7F5CF1C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4F513AB0-B464-432C-96F6-C01AE1AD896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1" name="Picture 3">
                <a:extLst>
                  <a:ext uri="{FF2B5EF4-FFF2-40B4-BE49-F238E27FC236}">
                    <a16:creationId xmlns:a16="http://schemas.microsoft.com/office/drawing/2014/main" id="{69D17DA6-BCD4-4046-9D31-CF5D433902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ounded Rectangle 20">
                <a:extLst>
                  <a:ext uri="{FF2B5EF4-FFF2-40B4-BE49-F238E27FC236}">
                    <a16:creationId xmlns:a16="http://schemas.microsoft.com/office/drawing/2014/main" id="{8B82DBD2-6FB6-4465-9E2D-6DA528C0AEC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Round Diagonal Corner Rectangle 4">
            <a:extLst>
              <a:ext uri="{FF2B5EF4-FFF2-40B4-BE49-F238E27FC236}">
                <a16:creationId xmlns:a16="http://schemas.microsoft.com/office/drawing/2014/main" id="{CCFF34D1-F27E-4737-B8CF-F9385F2D624E}"/>
              </a:ext>
            </a:extLst>
          </p:cNvPr>
          <p:cNvSpPr/>
          <p:nvPr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126880568"/>
      </p:ext>
    </p:extLst>
  </p:cSld>
  <p:clrMapOvr>
    <a:masterClrMapping/>
  </p:clrMapOvr>
  <p:hf sldNum="0"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8B2B09D-D81C-4260-912F-CB531B07FB99}"/>
              </a:ext>
            </a:extLst>
          </p:cNvPr>
          <p:cNvCxnSpPr>
            <a:cxnSpLocks/>
          </p:cNvCxnSpPr>
          <p:nvPr/>
        </p:nvCxnSpPr>
        <p:spPr>
          <a:xfrm>
            <a:off x="431800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A143F75-F1B4-412B-A3E2-850CC3D2A5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988D91BD-83E2-4D8E-A9D9-FB230B58F4C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1802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C82E8DE-D700-4FDB-B492-FBBE73708601}"/>
              </a:ext>
            </a:extLst>
          </p:cNvPr>
          <p:cNvCxnSpPr>
            <a:cxnSpLocks/>
          </p:cNvCxnSpPr>
          <p:nvPr/>
        </p:nvCxnSpPr>
        <p:spPr>
          <a:xfrm>
            <a:off x="4368800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A797DDDD-D10E-4826-9799-F77851FA3A1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68800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BE7E812B-C0C2-4E15-A5E1-88C87117715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368802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5E4984C-A870-48D7-A38E-4D226B28CF21}"/>
              </a:ext>
            </a:extLst>
          </p:cNvPr>
          <p:cNvCxnSpPr>
            <a:cxnSpLocks/>
          </p:cNvCxnSpPr>
          <p:nvPr/>
        </p:nvCxnSpPr>
        <p:spPr>
          <a:xfrm>
            <a:off x="8303683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D3ACC50D-43D4-45A0-975F-9B408E6BD14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303683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B3C3C8F3-419D-4EF9-BB29-AE7F1F1732D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303685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BB4D65-DB5D-4395-AECD-E4A4DD1DC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BD674DDD-BACE-4633-A51D-B34FB33EEC8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638300" y="1416001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901DDDCC-04BF-4981-893E-E22AFEDF5AC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575300" y="1416001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F15142A3-375C-45DF-AF42-2245E24CD46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512300" y="1416001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7" name="Footer Placeholder 2">
            <a:extLst>
              <a:ext uri="{FF2B5EF4-FFF2-40B4-BE49-F238E27FC236}">
                <a16:creationId xmlns:a16="http://schemas.microsoft.com/office/drawing/2014/main" id="{45A0E1D1-8595-4E45-A401-A475018540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255" algn="l"/>
              </a:tabLst>
            </a:pPr>
            <a:r>
              <a:rPr lang="fr-FR"/>
              <a:t>IT Updates - September 2019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B815125D-7568-4091-BEEB-35B82C7A282E}"/>
              </a:ext>
            </a:extLst>
          </p:cNvPr>
          <p:cNvGrpSpPr/>
          <p:nvPr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44" name="Guidance note">
              <a:extLst>
                <a:ext uri="{FF2B5EF4-FFF2-40B4-BE49-F238E27FC236}">
                  <a16:creationId xmlns:a16="http://schemas.microsoft.com/office/drawing/2014/main" id="{05DADCA8-9F14-4D3E-AEA6-3968A4B99D52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35567F3E-A867-493E-9CDF-6C283ED69FB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46" name="Picture 3">
                <a:extLst>
                  <a:ext uri="{FF2B5EF4-FFF2-40B4-BE49-F238E27FC236}">
                    <a16:creationId xmlns:a16="http://schemas.microsoft.com/office/drawing/2014/main" id="{EF71D8E4-9AAD-42D4-BB7D-BD4FF105C45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7" name="Rounded Rectangle 20">
                <a:extLst>
                  <a:ext uri="{FF2B5EF4-FFF2-40B4-BE49-F238E27FC236}">
                    <a16:creationId xmlns:a16="http://schemas.microsoft.com/office/drawing/2014/main" id="{F43BCCBD-E91E-4385-9D1C-933F4A1EFF49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48" name="Round Diagonal Corner Rectangle 4">
            <a:extLst>
              <a:ext uri="{FF2B5EF4-FFF2-40B4-BE49-F238E27FC236}">
                <a16:creationId xmlns:a16="http://schemas.microsoft.com/office/drawing/2014/main" id="{DCC9EC93-F46B-4A7B-8A65-57D85F810085}"/>
              </a:ext>
            </a:extLst>
          </p:cNvPr>
          <p:cNvSpPr/>
          <p:nvPr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205501862"/>
      </p:ext>
    </p:extLst>
  </p:cSld>
  <p:clrMapOvr>
    <a:masterClrMapping/>
  </p:clrMapOvr>
  <p:hf sldNum="0"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60F5496-3B12-A062-2803-B1DC633F8B67}"/>
              </a:ext>
            </a:extLst>
          </p:cNvPr>
          <p:cNvSpPr/>
          <p:nvPr/>
        </p:nvSpPr>
        <p:spPr bwMode="auto">
          <a:xfrm>
            <a:off x="1" y="1"/>
            <a:ext cx="2808111" cy="685799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12" tIns="60957" rIns="121912" bIns="60957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600"/>
              </a:spcAft>
            </a:pPr>
            <a:endParaRPr lang="en-GB" sz="2400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0C7583A-AC0E-B232-29C7-FCA8FB9E1BC1}"/>
              </a:ext>
            </a:extLst>
          </p:cNvPr>
          <p:cNvSpPr txBox="1"/>
          <p:nvPr/>
        </p:nvSpPr>
        <p:spPr bwMode="auto">
          <a:xfrm>
            <a:off x="337965" y="1079523"/>
            <a:ext cx="2136219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>
              <a:spcAft>
                <a:spcPts val="800"/>
              </a:spcAft>
              <a:buClr>
                <a:schemeClr val="tx1"/>
              </a:buClr>
            </a:pPr>
            <a:r>
              <a:rPr lang="en-US" sz="3200" kern="0">
                <a:solidFill>
                  <a:schemeClr val="bg1"/>
                </a:solidFill>
                <a:latin typeface="+mj-lt"/>
                <a:ea typeface="+mn-ea"/>
              </a:rPr>
              <a:t>Contents</a:t>
            </a: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FB561093-4289-C4B8-BF6D-2AB191AD83BF}"/>
              </a:ext>
            </a:extLst>
          </p:cNvPr>
          <p:cNvSpPr/>
          <p:nvPr/>
        </p:nvSpPr>
        <p:spPr bwMode="auto">
          <a:xfrm>
            <a:off x="2764771" y="1079524"/>
            <a:ext cx="381304" cy="768385"/>
          </a:xfrm>
          <a:custGeom>
            <a:avLst/>
            <a:gdLst>
              <a:gd name="connsiteX0" fmla="*/ 0 w 419100"/>
              <a:gd name="connsiteY0" fmla="*/ 0 h 844550"/>
              <a:gd name="connsiteX1" fmla="*/ 419100 w 419100"/>
              <a:gd name="connsiteY1" fmla="*/ 422275 h 844550"/>
              <a:gd name="connsiteX2" fmla="*/ 0 w 419100"/>
              <a:gd name="connsiteY2" fmla="*/ 844550 h 844550"/>
              <a:gd name="connsiteX3" fmla="*/ 0 w 419100"/>
              <a:gd name="connsiteY3" fmla="*/ 0 h 844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9100" h="844550">
                <a:moveTo>
                  <a:pt x="0" y="0"/>
                </a:moveTo>
                <a:lnTo>
                  <a:pt x="419100" y="422275"/>
                </a:lnTo>
                <a:lnTo>
                  <a:pt x="0" y="8445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12" tIns="60957" rIns="121912" bIns="60957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600"/>
              </a:spcAft>
            </a:pPr>
            <a:endParaRPr lang="en-US" sz="24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165D429A-AFBE-3E48-21BF-98A01ECF0F92}"/>
              </a:ext>
            </a:extLst>
          </p:cNvPr>
          <p:cNvSpPr txBox="1">
            <a:spLocks/>
          </p:cNvSpPr>
          <p:nvPr/>
        </p:nvSpPr>
        <p:spPr>
          <a:xfrm>
            <a:off x="430374" y="6320501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51" algn="l"/>
              </a:tabLst>
            </a:pPr>
            <a:r>
              <a:rPr lang="fr-FR" sz="1467" b="1">
                <a:solidFill>
                  <a:schemeClr val="bg1"/>
                </a:solidFill>
              </a:rPr>
              <a:t>National </a:t>
            </a:r>
            <a:r>
              <a:rPr lang="fr-FR" sz="1467" b="1" err="1">
                <a:solidFill>
                  <a:schemeClr val="bg1"/>
                </a:solidFill>
              </a:rPr>
              <a:t>Grid</a:t>
            </a:r>
            <a:endParaRPr lang="fr-FR" sz="1467" b="1">
              <a:solidFill>
                <a:schemeClr val="bg1"/>
              </a:solidFill>
            </a:endParaRPr>
          </a:p>
        </p:txBody>
      </p:sp>
      <p:sp>
        <p:nvSpPr>
          <p:cNvPr id="8" name="Diamond 7">
            <a:extLst>
              <a:ext uri="{FF2B5EF4-FFF2-40B4-BE49-F238E27FC236}">
                <a16:creationId xmlns:a16="http://schemas.microsoft.com/office/drawing/2014/main" id="{77D02D71-836C-B1F3-E41D-0933404B9433}"/>
              </a:ext>
            </a:extLst>
          </p:cNvPr>
          <p:cNvSpPr/>
          <p:nvPr/>
        </p:nvSpPr>
        <p:spPr bwMode="auto">
          <a:xfrm>
            <a:off x="3588929" y="696858"/>
            <a:ext cx="1561636" cy="1561636"/>
          </a:xfrm>
          <a:prstGeom prst="diamond">
            <a:avLst/>
          </a:prstGeom>
          <a:solidFill>
            <a:srgbClr val="00148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12" tIns="60957" rIns="121912" bIns="60957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600"/>
              </a:spcAft>
            </a:pPr>
            <a:endParaRPr lang="en-US" sz="24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11" name="Diamond 10">
            <a:extLst>
              <a:ext uri="{FF2B5EF4-FFF2-40B4-BE49-F238E27FC236}">
                <a16:creationId xmlns:a16="http://schemas.microsoft.com/office/drawing/2014/main" id="{40D6046F-3549-1031-79CB-F1EFCD366980}"/>
              </a:ext>
            </a:extLst>
          </p:cNvPr>
          <p:cNvSpPr/>
          <p:nvPr/>
        </p:nvSpPr>
        <p:spPr bwMode="auto">
          <a:xfrm>
            <a:off x="3588927" y="2495090"/>
            <a:ext cx="1561636" cy="1561636"/>
          </a:xfrm>
          <a:prstGeom prst="diamond">
            <a:avLst/>
          </a:prstGeom>
          <a:solidFill>
            <a:srgbClr val="00148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12" tIns="60957" rIns="121912" bIns="60957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600"/>
              </a:spcAft>
            </a:pPr>
            <a:endParaRPr lang="en-US" sz="24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14" name="Diamond 13">
            <a:extLst>
              <a:ext uri="{FF2B5EF4-FFF2-40B4-BE49-F238E27FC236}">
                <a16:creationId xmlns:a16="http://schemas.microsoft.com/office/drawing/2014/main" id="{F629583A-0CDB-BDB5-3582-143EC76A53B8}"/>
              </a:ext>
            </a:extLst>
          </p:cNvPr>
          <p:cNvSpPr/>
          <p:nvPr/>
        </p:nvSpPr>
        <p:spPr bwMode="auto">
          <a:xfrm>
            <a:off x="3588926" y="4296577"/>
            <a:ext cx="1561636" cy="1561636"/>
          </a:xfrm>
          <a:prstGeom prst="diamond">
            <a:avLst/>
          </a:prstGeom>
          <a:solidFill>
            <a:srgbClr val="00148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12" tIns="60957" rIns="121912" bIns="60957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600"/>
              </a:spcAft>
            </a:pPr>
            <a:endParaRPr lang="en-US" sz="24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17" name="Diamond 16">
            <a:extLst>
              <a:ext uri="{FF2B5EF4-FFF2-40B4-BE49-F238E27FC236}">
                <a16:creationId xmlns:a16="http://schemas.microsoft.com/office/drawing/2014/main" id="{3B42819E-ED85-0704-28B9-D6B774247AC3}"/>
              </a:ext>
            </a:extLst>
          </p:cNvPr>
          <p:cNvSpPr/>
          <p:nvPr/>
        </p:nvSpPr>
        <p:spPr bwMode="auto">
          <a:xfrm>
            <a:off x="7699445" y="696858"/>
            <a:ext cx="1561636" cy="1561636"/>
          </a:xfrm>
          <a:prstGeom prst="diamond">
            <a:avLst/>
          </a:prstGeom>
          <a:solidFill>
            <a:srgbClr val="00148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12" tIns="60957" rIns="121912" bIns="60957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600"/>
              </a:spcAft>
            </a:pPr>
            <a:endParaRPr lang="en-US" sz="24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20" name="Diamond 19">
            <a:extLst>
              <a:ext uri="{FF2B5EF4-FFF2-40B4-BE49-F238E27FC236}">
                <a16:creationId xmlns:a16="http://schemas.microsoft.com/office/drawing/2014/main" id="{D2F697A3-95C3-1EB6-DED7-D2196CC7FEC9}"/>
              </a:ext>
            </a:extLst>
          </p:cNvPr>
          <p:cNvSpPr/>
          <p:nvPr/>
        </p:nvSpPr>
        <p:spPr bwMode="auto">
          <a:xfrm>
            <a:off x="7699443" y="2495090"/>
            <a:ext cx="1561636" cy="1561636"/>
          </a:xfrm>
          <a:prstGeom prst="diamond">
            <a:avLst/>
          </a:prstGeom>
          <a:solidFill>
            <a:srgbClr val="00148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12" tIns="60957" rIns="121912" bIns="60957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600"/>
              </a:spcAft>
            </a:pPr>
            <a:endParaRPr lang="en-US" sz="24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23" name="Diamond 22">
            <a:extLst>
              <a:ext uri="{FF2B5EF4-FFF2-40B4-BE49-F238E27FC236}">
                <a16:creationId xmlns:a16="http://schemas.microsoft.com/office/drawing/2014/main" id="{01CB38B1-8A0A-99A1-2669-546B2F812D33}"/>
              </a:ext>
            </a:extLst>
          </p:cNvPr>
          <p:cNvSpPr/>
          <p:nvPr/>
        </p:nvSpPr>
        <p:spPr bwMode="auto">
          <a:xfrm>
            <a:off x="7699442" y="4296577"/>
            <a:ext cx="1561636" cy="1561636"/>
          </a:xfrm>
          <a:prstGeom prst="diamond">
            <a:avLst/>
          </a:prstGeom>
          <a:solidFill>
            <a:srgbClr val="00148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12" tIns="60957" rIns="121912" bIns="60957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600"/>
              </a:spcAft>
            </a:pPr>
            <a:endParaRPr lang="en-US" sz="24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18B0F8A-F0DE-B14E-84D8-E21D715F9A4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92406" y="1147754"/>
            <a:ext cx="912756" cy="656591"/>
          </a:xfrm>
        </p:spPr>
        <p:txBody>
          <a:bodyPr/>
          <a:lstStyle>
            <a:lvl1pPr algn="ctr">
              <a:defRPr sz="4267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1</a:t>
            </a:r>
            <a:endParaRPr lang="en-US"/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0484A6C2-7F8E-CE14-D48B-F28E3E6CD39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92406" y="2958625"/>
            <a:ext cx="912756" cy="656591"/>
          </a:xfrm>
        </p:spPr>
        <p:txBody>
          <a:bodyPr/>
          <a:lstStyle>
            <a:lvl1pPr algn="ctr">
              <a:defRPr sz="4267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2</a:t>
            </a:r>
            <a:endParaRPr lang="en-US"/>
          </a:p>
        </p:txBody>
      </p:sp>
      <p:sp>
        <p:nvSpPr>
          <p:cNvPr id="29" name="Text Placeholder 25">
            <a:extLst>
              <a:ext uri="{FF2B5EF4-FFF2-40B4-BE49-F238E27FC236}">
                <a16:creationId xmlns:a16="http://schemas.microsoft.com/office/drawing/2014/main" id="{94BC76C1-7A0A-3DF9-8B6C-0368613DA94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92406" y="4751566"/>
            <a:ext cx="912756" cy="656591"/>
          </a:xfrm>
        </p:spPr>
        <p:txBody>
          <a:bodyPr/>
          <a:lstStyle>
            <a:lvl1pPr algn="ctr">
              <a:defRPr sz="4267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3</a:t>
            </a:r>
            <a:endParaRPr lang="en-US"/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E932F4C1-3A80-70C3-0379-B0F86C9DD4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16170" y="1147754"/>
            <a:ext cx="912756" cy="656591"/>
          </a:xfrm>
        </p:spPr>
        <p:txBody>
          <a:bodyPr/>
          <a:lstStyle>
            <a:lvl1pPr algn="ctr">
              <a:defRPr sz="4267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4</a:t>
            </a:r>
            <a:endParaRPr lang="en-US"/>
          </a:p>
        </p:txBody>
      </p:sp>
      <p:sp>
        <p:nvSpPr>
          <p:cNvPr id="31" name="Text Placeholder 25">
            <a:extLst>
              <a:ext uri="{FF2B5EF4-FFF2-40B4-BE49-F238E27FC236}">
                <a16:creationId xmlns:a16="http://schemas.microsoft.com/office/drawing/2014/main" id="{694BADE9-5EED-4B55-FE7B-8F39E34D7A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16170" y="2958625"/>
            <a:ext cx="912756" cy="656591"/>
          </a:xfrm>
        </p:spPr>
        <p:txBody>
          <a:bodyPr/>
          <a:lstStyle>
            <a:lvl1pPr algn="ctr">
              <a:defRPr sz="4267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5</a:t>
            </a:r>
            <a:endParaRPr lang="en-US"/>
          </a:p>
        </p:txBody>
      </p:sp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D27EC5FB-152E-AE90-07AC-8BC77EF0AF5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16170" y="4751566"/>
            <a:ext cx="912756" cy="656591"/>
          </a:xfrm>
        </p:spPr>
        <p:txBody>
          <a:bodyPr/>
          <a:lstStyle>
            <a:lvl1pPr algn="ctr">
              <a:defRPr sz="4267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6</a:t>
            </a:r>
            <a:endParaRPr lang="en-US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E8431D8-5DF9-1349-7907-BF02EAAD24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56991" y="1147754"/>
            <a:ext cx="1928284" cy="328295"/>
          </a:xfrm>
        </p:spPr>
        <p:txBody>
          <a:bodyPr/>
          <a:lstStyle>
            <a:lvl1pPr>
              <a:defRPr sz="2133">
                <a:solidFill>
                  <a:srgbClr val="55555A"/>
                </a:solidFill>
              </a:defRPr>
            </a:lvl1pPr>
          </a:lstStyle>
          <a:p>
            <a:pPr lvl="0"/>
            <a:r>
              <a:rPr lang="en-GB"/>
              <a:t>Heading 1</a:t>
            </a:r>
            <a:endParaRPr lang="en-US"/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6411BC3D-AAAB-881F-1B9D-7FDEDC9EE75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56251" y="1579429"/>
            <a:ext cx="1928283" cy="287259"/>
          </a:xfrm>
        </p:spPr>
        <p:txBody>
          <a:bodyPr/>
          <a:lstStyle>
            <a:lvl1pPr>
              <a:defRPr sz="186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ontent Info</a:t>
            </a:r>
            <a:endParaRPr lang="en-US"/>
          </a:p>
        </p:txBody>
      </p:sp>
      <p:sp>
        <p:nvSpPr>
          <p:cNvPr id="38" name="Text Placeholder 34">
            <a:extLst>
              <a:ext uri="{FF2B5EF4-FFF2-40B4-BE49-F238E27FC236}">
                <a16:creationId xmlns:a16="http://schemas.microsoft.com/office/drawing/2014/main" id="{BAAB7F10-D517-1D19-F165-C1293FF81E3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56991" y="2922766"/>
            <a:ext cx="1928284" cy="328295"/>
          </a:xfrm>
        </p:spPr>
        <p:txBody>
          <a:bodyPr/>
          <a:lstStyle>
            <a:lvl1pPr>
              <a:defRPr sz="2133">
                <a:solidFill>
                  <a:srgbClr val="55555A"/>
                </a:solidFill>
              </a:defRPr>
            </a:lvl1pPr>
          </a:lstStyle>
          <a:p>
            <a:pPr lvl="0"/>
            <a:r>
              <a:rPr lang="en-GB"/>
              <a:t>Heading 2</a:t>
            </a:r>
            <a:endParaRPr lang="en-US"/>
          </a:p>
        </p:txBody>
      </p:sp>
      <p:sp>
        <p:nvSpPr>
          <p:cNvPr id="39" name="Text Placeholder 36">
            <a:extLst>
              <a:ext uri="{FF2B5EF4-FFF2-40B4-BE49-F238E27FC236}">
                <a16:creationId xmlns:a16="http://schemas.microsoft.com/office/drawing/2014/main" id="{9A0D8814-FED2-294C-7967-C8E4FF4C787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56251" y="3354441"/>
            <a:ext cx="1928283" cy="287259"/>
          </a:xfrm>
        </p:spPr>
        <p:txBody>
          <a:bodyPr/>
          <a:lstStyle>
            <a:lvl1pPr>
              <a:defRPr sz="186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ontent Info</a:t>
            </a:r>
            <a:endParaRPr lang="en-US"/>
          </a:p>
        </p:txBody>
      </p:sp>
      <p:sp>
        <p:nvSpPr>
          <p:cNvPr id="40" name="Text Placeholder 34">
            <a:extLst>
              <a:ext uri="{FF2B5EF4-FFF2-40B4-BE49-F238E27FC236}">
                <a16:creationId xmlns:a16="http://schemas.microsoft.com/office/drawing/2014/main" id="{66C4FDBE-C173-79DA-969E-C058D1F77B1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56991" y="4715707"/>
            <a:ext cx="1928284" cy="328295"/>
          </a:xfrm>
        </p:spPr>
        <p:txBody>
          <a:bodyPr/>
          <a:lstStyle>
            <a:lvl1pPr>
              <a:defRPr sz="2133">
                <a:solidFill>
                  <a:srgbClr val="55555A"/>
                </a:solidFill>
              </a:defRPr>
            </a:lvl1pPr>
          </a:lstStyle>
          <a:p>
            <a:pPr lvl="0"/>
            <a:r>
              <a:rPr lang="en-GB"/>
              <a:t>Heading 3</a:t>
            </a:r>
            <a:endParaRPr lang="en-US"/>
          </a:p>
        </p:txBody>
      </p:sp>
      <p:sp>
        <p:nvSpPr>
          <p:cNvPr id="41" name="Text Placeholder 36">
            <a:extLst>
              <a:ext uri="{FF2B5EF4-FFF2-40B4-BE49-F238E27FC236}">
                <a16:creationId xmlns:a16="http://schemas.microsoft.com/office/drawing/2014/main" id="{190FDC0D-8F5B-1849-220A-1F78D1A427D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56251" y="5147383"/>
            <a:ext cx="1928283" cy="287259"/>
          </a:xfrm>
        </p:spPr>
        <p:txBody>
          <a:bodyPr/>
          <a:lstStyle>
            <a:lvl1pPr>
              <a:defRPr sz="186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ontent Info</a:t>
            </a:r>
            <a:endParaRPr lang="en-US"/>
          </a:p>
        </p:txBody>
      </p:sp>
      <p:sp>
        <p:nvSpPr>
          <p:cNvPr id="42" name="Text Placeholder 34">
            <a:extLst>
              <a:ext uri="{FF2B5EF4-FFF2-40B4-BE49-F238E27FC236}">
                <a16:creationId xmlns:a16="http://schemas.microsoft.com/office/drawing/2014/main" id="{EE71A42A-77A1-B0A6-EFB5-5D7CDFCC1E7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26969" y="1147754"/>
            <a:ext cx="1928284" cy="328295"/>
          </a:xfrm>
        </p:spPr>
        <p:txBody>
          <a:bodyPr/>
          <a:lstStyle>
            <a:lvl1pPr>
              <a:defRPr sz="2133">
                <a:solidFill>
                  <a:srgbClr val="55555A"/>
                </a:solidFill>
              </a:defRPr>
            </a:lvl1pPr>
          </a:lstStyle>
          <a:p>
            <a:pPr lvl="0"/>
            <a:r>
              <a:rPr lang="en-GB"/>
              <a:t>Heading 4</a:t>
            </a:r>
            <a:endParaRPr lang="en-US"/>
          </a:p>
        </p:txBody>
      </p:sp>
      <p:sp>
        <p:nvSpPr>
          <p:cNvPr id="43" name="Text Placeholder 36">
            <a:extLst>
              <a:ext uri="{FF2B5EF4-FFF2-40B4-BE49-F238E27FC236}">
                <a16:creationId xmlns:a16="http://schemas.microsoft.com/office/drawing/2014/main" id="{D885E095-09C8-233D-52F8-C2DA1E88C9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26228" y="1579429"/>
            <a:ext cx="1928283" cy="287259"/>
          </a:xfrm>
        </p:spPr>
        <p:txBody>
          <a:bodyPr/>
          <a:lstStyle>
            <a:lvl1pPr>
              <a:defRPr sz="186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ontent Info</a:t>
            </a:r>
            <a:endParaRPr lang="en-US"/>
          </a:p>
        </p:txBody>
      </p:sp>
      <p:sp>
        <p:nvSpPr>
          <p:cNvPr id="44" name="Text Placeholder 34">
            <a:extLst>
              <a:ext uri="{FF2B5EF4-FFF2-40B4-BE49-F238E27FC236}">
                <a16:creationId xmlns:a16="http://schemas.microsoft.com/office/drawing/2014/main" id="{623A5A87-517D-F8DD-BC39-7D8411D1780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26969" y="2922766"/>
            <a:ext cx="1928284" cy="328295"/>
          </a:xfrm>
        </p:spPr>
        <p:txBody>
          <a:bodyPr/>
          <a:lstStyle>
            <a:lvl1pPr>
              <a:defRPr sz="2133">
                <a:solidFill>
                  <a:srgbClr val="55555A"/>
                </a:solidFill>
              </a:defRPr>
            </a:lvl1pPr>
          </a:lstStyle>
          <a:p>
            <a:pPr lvl="0"/>
            <a:r>
              <a:rPr lang="en-GB"/>
              <a:t>Heading 5</a:t>
            </a:r>
            <a:endParaRPr lang="en-US"/>
          </a:p>
        </p:txBody>
      </p:sp>
      <p:sp>
        <p:nvSpPr>
          <p:cNvPr id="45" name="Text Placeholder 36">
            <a:extLst>
              <a:ext uri="{FF2B5EF4-FFF2-40B4-BE49-F238E27FC236}">
                <a16:creationId xmlns:a16="http://schemas.microsoft.com/office/drawing/2014/main" id="{3BCC1BE0-2CD2-E477-9400-A994BC9D8BA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26228" y="3354441"/>
            <a:ext cx="1928283" cy="287259"/>
          </a:xfrm>
        </p:spPr>
        <p:txBody>
          <a:bodyPr/>
          <a:lstStyle>
            <a:lvl1pPr>
              <a:defRPr sz="186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ontent Info</a:t>
            </a:r>
            <a:endParaRPr lang="en-US"/>
          </a:p>
        </p:txBody>
      </p:sp>
      <p:sp>
        <p:nvSpPr>
          <p:cNvPr id="46" name="Text Placeholder 34">
            <a:extLst>
              <a:ext uri="{FF2B5EF4-FFF2-40B4-BE49-F238E27FC236}">
                <a16:creationId xmlns:a16="http://schemas.microsoft.com/office/drawing/2014/main" id="{C91D4401-669F-6376-F610-31AD5879A01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426969" y="4715707"/>
            <a:ext cx="1928284" cy="328295"/>
          </a:xfrm>
        </p:spPr>
        <p:txBody>
          <a:bodyPr/>
          <a:lstStyle>
            <a:lvl1pPr>
              <a:defRPr sz="2133">
                <a:solidFill>
                  <a:srgbClr val="55555A"/>
                </a:solidFill>
              </a:defRPr>
            </a:lvl1pPr>
          </a:lstStyle>
          <a:p>
            <a:pPr lvl="0"/>
            <a:r>
              <a:rPr lang="en-GB"/>
              <a:t>Heading 6</a:t>
            </a:r>
            <a:endParaRPr lang="en-US"/>
          </a:p>
        </p:txBody>
      </p:sp>
      <p:sp>
        <p:nvSpPr>
          <p:cNvPr id="47" name="Text Placeholder 36">
            <a:extLst>
              <a:ext uri="{FF2B5EF4-FFF2-40B4-BE49-F238E27FC236}">
                <a16:creationId xmlns:a16="http://schemas.microsoft.com/office/drawing/2014/main" id="{AE0A0154-D9DE-7B92-7627-148DE95C05E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26228" y="5147383"/>
            <a:ext cx="1928283" cy="287259"/>
          </a:xfrm>
        </p:spPr>
        <p:txBody>
          <a:bodyPr/>
          <a:lstStyle>
            <a:lvl1pPr>
              <a:defRPr sz="186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ontent Inf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00908"/>
      </p:ext>
    </p:extLst>
  </p:cSld>
  <p:clrMapOvr>
    <a:masterClrMapping/>
  </p:clrMapOvr>
  <p:transition>
    <p:fade/>
  </p:transition>
  <p:hf sldNum="0"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ntents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60F5496-3B12-A062-2803-B1DC633F8B67}"/>
              </a:ext>
            </a:extLst>
          </p:cNvPr>
          <p:cNvSpPr/>
          <p:nvPr/>
        </p:nvSpPr>
        <p:spPr bwMode="auto">
          <a:xfrm>
            <a:off x="1" y="1"/>
            <a:ext cx="2808111" cy="685799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12" tIns="60957" rIns="121912" bIns="60957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600"/>
              </a:spcAft>
            </a:pPr>
            <a:endParaRPr lang="en-GB" sz="2400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0C7583A-AC0E-B232-29C7-FCA8FB9E1BC1}"/>
              </a:ext>
            </a:extLst>
          </p:cNvPr>
          <p:cNvSpPr txBox="1"/>
          <p:nvPr/>
        </p:nvSpPr>
        <p:spPr bwMode="auto">
          <a:xfrm>
            <a:off x="337965" y="362175"/>
            <a:ext cx="2136219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>
              <a:spcAft>
                <a:spcPts val="800"/>
              </a:spcAft>
              <a:buClr>
                <a:schemeClr val="tx1"/>
              </a:buClr>
            </a:pPr>
            <a:r>
              <a:rPr lang="en-US" sz="3200" kern="0">
                <a:solidFill>
                  <a:schemeClr val="bg1"/>
                </a:solidFill>
                <a:latin typeface="+mj-lt"/>
                <a:ea typeface="+mn-ea"/>
              </a:rPr>
              <a:t>Contents</a:t>
            </a: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FB561093-4289-C4B8-BF6D-2AB191AD83BF}"/>
              </a:ext>
            </a:extLst>
          </p:cNvPr>
          <p:cNvSpPr/>
          <p:nvPr/>
        </p:nvSpPr>
        <p:spPr bwMode="auto">
          <a:xfrm>
            <a:off x="2764771" y="362176"/>
            <a:ext cx="381304" cy="768385"/>
          </a:xfrm>
          <a:custGeom>
            <a:avLst/>
            <a:gdLst>
              <a:gd name="connsiteX0" fmla="*/ 0 w 419100"/>
              <a:gd name="connsiteY0" fmla="*/ 0 h 844550"/>
              <a:gd name="connsiteX1" fmla="*/ 419100 w 419100"/>
              <a:gd name="connsiteY1" fmla="*/ 422275 h 844550"/>
              <a:gd name="connsiteX2" fmla="*/ 0 w 419100"/>
              <a:gd name="connsiteY2" fmla="*/ 844550 h 844550"/>
              <a:gd name="connsiteX3" fmla="*/ 0 w 419100"/>
              <a:gd name="connsiteY3" fmla="*/ 0 h 844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9100" h="844550">
                <a:moveTo>
                  <a:pt x="0" y="0"/>
                </a:moveTo>
                <a:lnTo>
                  <a:pt x="419100" y="422275"/>
                </a:lnTo>
                <a:lnTo>
                  <a:pt x="0" y="8445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12" tIns="60957" rIns="121912" bIns="60957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600"/>
              </a:spcAft>
            </a:pPr>
            <a:endParaRPr lang="en-US" sz="24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165D429A-AFBE-3E48-21BF-98A01ECF0F92}"/>
              </a:ext>
            </a:extLst>
          </p:cNvPr>
          <p:cNvSpPr txBox="1">
            <a:spLocks/>
          </p:cNvSpPr>
          <p:nvPr/>
        </p:nvSpPr>
        <p:spPr>
          <a:xfrm>
            <a:off x="430374" y="6320501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51" algn="l"/>
              </a:tabLst>
            </a:pPr>
            <a:r>
              <a:rPr lang="fr-FR" sz="1467" b="1">
                <a:solidFill>
                  <a:schemeClr val="bg1"/>
                </a:solidFill>
              </a:rPr>
              <a:t>National </a:t>
            </a:r>
            <a:r>
              <a:rPr lang="fr-FR" sz="1467" b="1" err="1">
                <a:solidFill>
                  <a:schemeClr val="bg1"/>
                </a:solidFill>
              </a:rPr>
              <a:t>Grid</a:t>
            </a:r>
            <a:endParaRPr lang="fr-FR" sz="1467" b="1">
              <a:solidFill>
                <a:schemeClr val="bg1"/>
              </a:solidFill>
            </a:endParaRP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18B0F8A-F0DE-B14E-84D8-E21D715F9A4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7744" y="435685"/>
            <a:ext cx="646297" cy="656655"/>
          </a:xfrm>
        </p:spPr>
        <p:txBody>
          <a:bodyPr/>
          <a:lstStyle>
            <a:lvl1pPr algn="l">
              <a:defRPr sz="4267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01</a:t>
            </a:r>
            <a:endParaRPr lang="en-US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E8431D8-5DF9-1349-7907-BF02EAAD24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795" y="435682"/>
            <a:ext cx="6763292" cy="492443"/>
          </a:xfrm>
        </p:spPr>
        <p:txBody>
          <a:bodyPr/>
          <a:lstStyle>
            <a:lvl1pPr>
              <a:spcAft>
                <a:spcPts val="0"/>
              </a:spcAft>
              <a:defRPr sz="1600" b="0">
                <a:solidFill>
                  <a:srgbClr val="55555A"/>
                </a:solidFill>
              </a:defRPr>
            </a:lvl1pPr>
          </a:lstStyle>
          <a:p>
            <a:pPr lvl="0"/>
            <a:r>
              <a:rPr lang="en-GB"/>
              <a:t>Heading &amp;</a:t>
            </a:r>
          </a:p>
          <a:p>
            <a:pPr lvl="0"/>
            <a:r>
              <a:rPr lang="en-GB"/>
              <a:t>Content</a:t>
            </a:r>
            <a:endParaRPr lang="en-US"/>
          </a:p>
        </p:txBody>
      </p:sp>
      <p:sp>
        <p:nvSpPr>
          <p:cNvPr id="4" name="Text Placeholder 25">
            <a:extLst>
              <a:ext uri="{FF2B5EF4-FFF2-40B4-BE49-F238E27FC236}">
                <a16:creationId xmlns:a16="http://schemas.microsoft.com/office/drawing/2014/main" id="{887D782B-FD5C-C4DB-7F33-ABC6D78E027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97744" y="1405562"/>
            <a:ext cx="646297" cy="656591"/>
          </a:xfrm>
        </p:spPr>
        <p:txBody>
          <a:bodyPr/>
          <a:lstStyle>
            <a:lvl1pPr algn="l">
              <a:defRPr sz="4267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02</a:t>
            </a:r>
            <a:endParaRPr lang="en-US"/>
          </a:p>
        </p:txBody>
      </p:sp>
      <p:sp>
        <p:nvSpPr>
          <p:cNvPr id="10" name="Text Placeholder 25">
            <a:extLst>
              <a:ext uri="{FF2B5EF4-FFF2-40B4-BE49-F238E27FC236}">
                <a16:creationId xmlns:a16="http://schemas.microsoft.com/office/drawing/2014/main" id="{41B643B4-188A-DBF4-27F9-8E82D494A3F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697744" y="2386343"/>
            <a:ext cx="646297" cy="656591"/>
          </a:xfrm>
        </p:spPr>
        <p:txBody>
          <a:bodyPr/>
          <a:lstStyle>
            <a:lvl1pPr algn="l">
              <a:defRPr sz="4267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03</a:t>
            </a:r>
            <a:endParaRPr lang="en-US"/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653B925A-DD08-241B-5120-5AB09A2DA49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697744" y="3352258"/>
            <a:ext cx="646297" cy="656591"/>
          </a:xfrm>
        </p:spPr>
        <p:txBody>
          <a:bodyPr/>
          <a:lstStyle>
            <a:lvl1pPr algn="l">
              <a:defRPr sz="4267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04</a:t>
            </a:r>
            <a:endParaRPr lang="en-US"/>
          </a:p>
        </p:txBody>
      </p:sp>
      <p:sp>
        <p:nvSpPr>
          <p:cNvPr id="19" name="Text Placeholder 25">
            <a:extLst>
              <a:ext uri="{FF2B5EF4-FFF2-40B4-BE49-F238E27FC236}">
                <a16:creationId xmlns:a16="http://schemas.microsoft.com/office/drawing/2014/main" id="{4EE950B0-D4A3-6E85-64F3-0F40651E5F7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97744" y="4318173"/>
            <a:ext cx="646297" cy="656591"/>
          </a:xfrm>
        </p:spPr>
        <p:txBody>
          <a:bodyPr/>
          <a:lstStyle>
            <a:lvl1pPr algn="l">
              <a:defRPr sz="4267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05</a:t>
            </a:r>
            <a:endParaRPr lang="en-US"/>
          </a:p>
        </p:txBody>
      </p:sp>
      <p:sp>
        <p:nvSpPr>
          <p:cNvPr id="24" name="Text Placeholder 25">
            <a:extLst>
              <a:ext uri="{FF2B5EF4-FFF2-40B4-BE49-F238E27FC236}">
                <a16:creationId xmlns:a16="http://schemas.microsoft.com/office/drawing/2014/main" id="{4909D852-4917-3098-5623-640230F1A29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697744" y="5250502"/>
            <a:ext cx="646297" cy="656591"/>
          </a:xfrm>
        </p:spPr>
        <p:txBody>
          <a:bodyPr/>
          <a:lstStyle>
            <a:lvl1pPr algn="l">
              <a:defRPr sz="4267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06</a:t>
            </a:r>
            <a:endParaRPr lang="en-US"/>
          </a:p>
        </p:txBody>
      </p:sp>
      <p:sp>
        <p:nvSpPr>
          <p:cNvPr id="8" name="Text Placeholder 34">
            <a:extLst>
              <a:ext uri="{FF2B5EF4-FFF2-40B4-BE49-F238E27FC236}">
                <a16:creationId xmlns:a16="http://schemas.microsoft.com/office/drawing/2014/main" id="{12F438E8-60EC-F577-2A7B-C900EE7E3BF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80795" y="1398749"/>
            <a:ext cx="6763292" cy="492443"/>
          </a:xfrm>
        </p:spPr>
        <p:txBody>
          <a:bodyPr/>
          <a:lstStyle>
            <a:lvl1pPr>
              <a:spcAft>
                <a:spcPts val="0"/>
              </a:spcAft>
              <a:defRPr sz="1600" b="0">
                <a:solidFill>
                  <a:srgbClr val="55555A"/>
                </a:solidFill>
              </a:defRPr>
            </a:lvl1pPr>
          </a:lstStyle>
          <a:p>
            <a:pPr lvl="0"/>
            <a:r>
              <a:rPr lang="en-GB"/>
              <a:t>Heading &amp;</a:t>
            </a:r>
          </a:p>
          <a:p>
            <a:pPr lvl="0"/>
            <a:r>
              <a:rPr lang="en-GB"/>
              <a:t>Content</a:t>
            </a:r>
            <a:endParaRPr lang="en-US"/>
          </a:p>
        </p:txBody>
      </p:sp>
      <p:sp>
        <p:nvSpPr>
          <p:cNvPr id="11" name="Text Placeholder 34">
            <a:extLst>
              <a:ext uri="{FF2B5EF4-FFF2-40B4-BE49-F238E27FC236}">
                <a16:creationId xmlns:a16="http://schemas.microsoft.com/office/drawing/2014/main" id="{D82319D1-2419-C171-0405-3F69C082B34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680795" y="2382305"/>
            <a:ext cx="6763292" cy="492443"/>
          </a:xfrm>
        </p:spPr>
        <p:txBody>
          <a:bodyPr/>
          <a:lstStyle>
            <a:lvl1pPr>
              <a:spcAft>
                <a:spcPts val="0"/>
              </a:spcAft>
              <a:defRPr sz="1600" b="0">
                <a:solidFill>
                  <a:srgbClr val="55555A"/>
                </a:solidFill>
              </a:defRPr>
            </a:lvl1pPr>
          </a:lstStyle>
          <a:p>
            <a:pPr lvl="0"/>
            <a:r>
              <a:rPr lang="en-GB"/>
              <a:t>Heading &amp;</a:t>
            </a:r>
          </a:p>
          <a:p>
            <a:pPr lvl="0"/>
            <a:r>
              <a:rPr lang="en-GB"/>
              <a:t>Content</a:t>
            </a:r>
            <a:endParaRPr lang="en-US"/>
          </a:p>
        </p:txBody>
      </p:sp>
      <p:sp>
        <p:nvSpPr>
          <p:cNvPr id="14" name="Text Placeholder 34">
            <a:extLst>
              <a:ext uri="{FF2B5EF4-FFF2-40B4-BE49-F238E27FC236}">
                <a16:creationId xmlns:a16="http://schemas.microsoft.com/office/drawing/2014/main" id="{DF201419-58AC-D891-096F-539C91FEEE0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680795" y="3345370"/>
            <a:ext cx="6763292" cy="492443"/>
          </a:xfrm>
        </p:spPr>
        <p:txBody>
          <a:bodyPr/>
          <a:lstStyle>
            <a:lvl1pPr>
              <a:spcAft>
                <a:spcPts val="0"/>
              </a:spcAft>
              <a:defRPr sz="1600" b="0">
                <a:solidFill>
                  <a:srgbClr val="55555A"/>
                </a:solidFill>
              </a:defRPr>
            </a:lvl1pPr>
          </a:lstStyle>
          <a:p>
            <a:pPr lvl="0"/>
            <a:r>
              <a:rPr lang="en-GB"/>
              <a:t>Heading &amp;</a:t>
            </a:r>
          </a:p>
          <a:p>
            <a:pPr lvl="0"/>
            <a:r>
              <a:rPr lang="en-GB"/>
              <a:t>Content</a:t>
            </a:r>
            <a:endParaRPr lang="en-US"/>
          </a:p>
        </p:txBody>
      </p:sp>
      <p:sp>
        <p:nvSpPr>
          <p:cNvPr id="17" name="Text Placeholder 34">
            <a:extLst>
              <a:ext uri="{FF2B5EF4-FFF2-40B4-BE49-F238E27FC236}">
                <a16:creationId xmlns:a16="http://schemas.microsoft.com/office/drawing/2014/main" id="{3910AEBE-2603-71EE-51EC-0B2E0007D73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680795" y="4308435"/>
            <a:ext cx="6763292" cy="492443"/>
          </a:xfrm>
        </p:spPr>
        <p:txBody>
          <a:bodyPr/>
          <a:lstStyle>
            <a:lvl1pPr>
              <a:spcAft>
                <a:spcPts val="0"/>
              </a:spcAft>
              <a:defRPr sz="1600" b="0">
                <a:solidFill>
                  <a:srgbClr val="55555A"/>
                </a:solidFill>
              </a:defRPr>
            </a:lvl1pPr>
          </a:lstStyle>
          <a:p>
            <a:pPr lvl="0"/>
            <a:r>
              <a:rPr lang="en-GB"/>
              <a:t>Heading &amp;</a:t>
            </a:r>
          </a:p>
          <a:p>
            <a:pPr lvl="0"/>
            <a:r>
              <a:rPr lang="en-GB"/>
              <a:t>Content</a:t>
            </a:r>
            <a:endParaRPr lang="en-US"/>
          </a:p>
        </p:txBody>
      </p:sp>
      <p:sp>
        <p:nvSpPr>
          <p:cNvPr id="20" name="Text Placeholder 34">
            <a:extLst>
              <a:ext uri="{FF2B5EF4-FFF2-40B4-BE49-F238E27FC236}">
                <a16:creationId xmlns:a16="http://schemas.microsoft.com/office/drawing/2014/main" id="{C71DB2BC-68EE-1C46-77F7-A400C4D26E7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680795" y="5240765"/>
            <a:ext cx="6763292" cy="492443"/>
          </a:xfrm>
        </p:spPr>
        <p:txBody>
          <a:bodyPr/>
          <a:lstStyle>
            <a:lvl1pPr>
              <a:spcAft>
                <a:spcPts val="0"/>
              </a:spcAft>
              <a:defRPr sz="1600" b="0">
                <a:solidFill>
                  <a:srgbClr val="55555A"/>
                </a:solidFill>
              </a:defRPr>
            </a:lvl1pPr>
          </a:lstStyle>
          <a:p>
            <a:pPr lvl="0"/>
            <a:r>
              <a:rPr lang="en-GB"/>
              <a:t>Heading &amp;</a:t>
            </a:r>
          </a:p>
          <a:p>
            <a:pPr lvl="0"/>
            <a:r>
              <a:rPr lang="en-GB"/>
              <a:t>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4423828"/>
      </p:ext>
    </p:extLst>
  </p:cSld>
  <p:clrMapOvr>
    <a:masterClrMapping/>
  </p:clrMapOvr>
  <p:transition>
    <p:fade/>
  </p:transition>
  <p:hf sldNum="0"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83225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4105993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  <p:sp>
        <p:nvSpPr>
          <p:cNvPr id="10" name="Round Diagonal Corner Rectangle 4">
            <a:extLst>
              <a:ext uri="{FF2B5EF4-FFF2-40B4-BE49-F238E27FC236}">
                <a16:creationId xmlns:a16="http://schemas.microsoft.com/office/drawing/2014/main" id="{16DC8360-D4F7-405A-BF06-04DDCFD5DEFE}"/>
              </a:ext>
            </a:extLst>
          </p:cNvPr>
          <p:cNvSpPr/>
          <p:nvPr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B8FE51E-44A4-8596-52AC-6CE2F0693C2E}"/>
              </a:ext>
            </a:extLst>
          </p:cNvPr>
          <p:cNvGrpSpPr/>
          <p:nvPr/>
        </p:nvGrpSpPr>
        <p:grpSpPr>
          <a:xfrm>
            <a:off x="5333576" y="-1378847"/>
            <a:ext cx="7854885" cy="10270544"/>
            <a:chOff x="7123291" y="-714405"/>
            <a:chExt cx="4298754" cy="5620774"/>
          </a:xfrm>
        </p:grpSpPr>
        <p:sp>
          <p:nvSpPr>
            <p:cNvPr id="2" name="Diamond 1">
              <a:extLst>
                <a:ext uri="{FF2B5EF4-FFF2-40B4-BE49-F238E27FC236}">
                  <a16:creationId xmlns:a16="http://schemas.microsoft.com/office/drawing/2014/main" id="{41BB55CE-4640-269D-BBA2-042FF68AA50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473344" y="854649"/>
              <a:ext cx="748667" cy="748667"/>
            </a:xfrm>
            <a:prstGeom prst="diamond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algn="l">
                <a:spcAft>
                  <a:spcPts val="450"/>
                </a:spcAft>
              </a:pPr>
              <a:endParaRPr lang="en-GB" sz="1800" err="1">
                <a:solidFill>
                  <a:schemeClr val="bg1"/>
                </a:solidFill>
                <a:latin typeface="+mn-lt"/>
                <a:cs typeface="Arial"/>
              </a:endParaRPr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7A6C9B06-4DCF-BAF0-8356-7BFED18EE22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478498" y="855274"/>
              <a:ext cx="748868" cy="748667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278E8E5D-C7AF-C824-FDF2-2C5FD69D0CA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239846" y="2118237"/>
              <a:ext cx="729166" cy="728966"/>
            </a:xfrm>
            <a:prstGeom prst="rect">
              <a:avLst/>
            </a:prstGeom>
          </p:spPr>
        </p:pic>
        <p:sp>
          <p:nvSpPr>
            <p:cNvPr id="5" name="Diamond 4">
              <a:extLst>
                <a:ext uri="{FF2B5EF4-FFF2-40B4-BE49-F238E27FC236}">
                  <a16:creationId xmlns:a16="http://schemas.microsoft.com/office/drawing/2014/main" id="{A804DA4C-A330-4292-FCBA-68661AD08CB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147871" y="638789"/>
              <a:ext cx="512246" cy="512246"/>
            </a:xfrm>
            <a:prstGeom prst="diamond">
              <a:avLst/>
            </a:prstGeom>
            <a:solidFill>
              <a:srgbClr val="0073CD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algn="l">
                <a:spcAft>
                  <a:spcPts val="450"/>
                </a:spcAft>
              </a:pPr>
              <a:endParaRPr lang="en-GB" sz="1800" err="1">
                <a:solidFill>
                  <a:schemeClr val="bg1"/>
                </a:solidFill>
                <a:latin typeface="+mn-lt"/>
                <a:cs typeface="Arial"/>
              </a:endParaRPr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98E8311-DDF7-D26E-A3CF-C15C44C897F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142581" y="631631"/>
              <a:ext cx="512382" cy="512246"/>
            </a:xfrm>
            <a:prstGeom prst="rect">
              <a:avLst/>
            </a:prstGeom>
          </p:spPr>
        </p:pic>
        <p:sp>
          <p:nvSpPr>
            <p:cNvPr id="7" name="Diamond 6">
              <a:extLst>
                <a:ext uri="{FF2B5EF4-FFF2-40B4-BE49-F238E27FC236}">
                  <a16:creationId xmlns:a16="http://schemas.microsoft.com/office/drawing/2014/main" id="{F7941842-8AAC-0CA7-8310-75601F6B779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283821" y="1768145"/>
              <a:ext cx="3138224" cy="3138224"/>
            </a:xfrm>
            <a:prstGeom prst="diamond">
              <a:avLst/>
            </a:prstGeom>
            <a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 l="-1746" t="63" r="818" b="35465"/>
              </a:stretch>
            </a:blip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algn="l">
                <a:spcAft>
                  <a:spcPts val="450"/>
                </a:spcAft>
              </a:pPr>
              <a:endParaRPr lang="en-GB" sz="1800" err="1">
                <a:solidFill>
                  <a:schemeClr val="bg1"/>
                </a:solidFill>
                <a:latin typeface="+mn-lt"/>
                <a:cs typeface="Arial"/>
              </a:endParaRPr>
            </a:p>
          </p:txBody>
        </p:sp>
        <p:sp>
          <p:nvSpPr>
            <p:cNvPr id="9" name="Diamond 8">
              <a:extLst>
                <a:ext uri="{FF2B5EF4-FFF2-40B4-BE49-F238E27FC236}">
                  <a16:creationId xmlns:a16="http://schemas.microsoft.com/office/drawing/2014/main" id="{0C87D613-978D-970B-3DB7-B5633847B81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123291" y="-714405"/>
              <a:ext cx="2330845" cy="2330847"/>
            </a:xfrm>
            <a:prstGeom prst="diamond">
              <a:avLst/>
            </a:prstGeom>
            <a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 l="-227" t="11984" r="227" b="-11984"/>
              </a:stretch>
            </a:blip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algn="l">
                <a:spcAft>
                  <a:spcPts val="450"/>
                </a:spcAft>
              </a:pPr>
              <a:endParaRPr lang="en-GB" sz="1800" err="1">
                <a:solidFill>
                  <a:schemeClr val="bg1"/>
                </a:solidFill>
                <a:latin typeface="+mn-lt"/>
                <a:cs typeface="Arial"/>
              </a:endParaRPr>
            </a:p>
          </p:txBody>
        </p:sp>
        <p:sp>
          <p:nvSpPr>
            <p:cNvPr id="17" name="Diamond 16">
              <a:extLst>
                <a:ext uri="{FF2B5EF4-FFF2-40B4-BE49-F238E27FC236}">
                  <a16:creationId xmlns:a16="http://schemas.microsoft.com/office/drawing/2014/main" id="{553549FF-7180-749D-A6F3-BC0C5C84950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375659" y="-687990"/>
              <a:ext cx="1832265" cy="1832264"/>
            </a:xfrm>
            <a:prstGeom prst="diamond">
              <a:avLst/>
            </a:prstGeom>
            <a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 l="-8827" t="39210" r="13784" b="-65"/>
              </a:stretch>
            </a:blip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algn="l">
                <a:spcAft>
                  <a:spcPts val="450"/>
                </a:spcAft>
              </a:pPr>
              <a:endParaRPr lang="en-GB" sz="1800" err="1">
                <a:solidFill>
                  <a:schemeClr val="bg1"/>
                </a:solidFill>
                <a:latin typeface="+mn-lt"/>
                <a:cs typeface="Arial"/>
              </a:endParaRPr>
            </a:p>
          </p:txBody>
        </p:sp>
        <p:sp>
          <p:nvSpPr>
            <p:cNvPr id="18" name="Diamond 17">
              <a:extLst>
                <a:ext uri="{FF2B5EF4-FFF2-40B4-BE49-F238E27FC236}">
                  <a16:creationId xmlns:a16="http://schemas.microsoft.com/office/drawing/2014/main" id="{EEEA6AD8-32BB-8495-A2DF-2900EB90D0C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918980" y="1065761"/>
              <a:ext cx="1224000" cy="1224000"/>
            </a:xfrm>
            <a:prstGeom prst="diamond">
              <a:avLst/>
            </a:prstGeom>
            <a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 l="-16743" t="-338" r="-26541" b="338"/>
              </a:stretch>
            </a:blip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algn="l">
                <a:spcAft>
                  <a:spcPts val="450"/>
                </a:spcAft>
              </a:pPr>
              <a:endParaRPr lang="en-GB" sz="1800" err="1">
                <a:solidFill>
                  <a:schemeClr val="bg1"/>
                </a:solidFill>
                <a:latin typeface="+mn-lt"/>
                <a:cs typeface="Arial"/>
              </a:endParaRPr>
            </a:p>
          </p:txBody>
        </p:sp>
        <p:sp>
          <p:nvSpPr>
            <p:cNvPr id="19" name="Diamond 18">
              <a:extLst>
                <a:ext uri="{FF2B5EF4-FFF2-40B4-BE49-F238E27FC236}">
                  <a16:creationId xmlns:a16="http://schemas.microsoft.com/office/drawing/2014/main" id="{79436E98-334E-D419-6300-6E676E5E9A5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971285" y="1782892"/>
              <a:ext cx="551651" cy="551650"/>
            </a:xfrm>
            <a:prstGeom prst="diamond">
              <a:avLst/>
            </a:prstGeom>
            <a:solidFill>
              <a:srgbClr val="009DD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algn="l">
                <a:spcAft>
                  <a:spcPts val="450"/>
                </a:spcAft>
              </a:pPr>
              <a:endParaRPr lang="en-GB" sz="1800" err="1">
                <a:solidFill>
                  <a:schemeClr val="bg1"/>
                </a:solidFill>
                <a:latin typeface="+mn-lt"/>
                <a:cs typeface="Arial"/>
              </a:endParaRPr>
            </a:p>
          </p:txBody>
        </p:sp>
        <p:sp>
          <p:nvSpPr>
            <p:cNvPr id="20" name="Diamond 19">
              <a:extLst>
                <a:ext uri="{FF2B5EF4-FFF2-40B4-BE49-F238E27FC236}">
                  <a16:creationId xmlns:a16="http://schemas.microsoft.com/office/drawing/2014/main" id="{99A4788E-6378-958A-69FB-5B80D341EB1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334363" y="956344"/>
              <a:ext cx="1440000" cy="1440000"/>
            </a:xfrm>
            <a:prstGeom prst="diamond">
              <a:avLst/>
            </a:prstGeom>
            <a:blipFill>
              <a:blip r:embed="rId1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 l="-6990" t="469" r="-33356" b="-469"/>
              </a:stretch>
            </a:blip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algn="l">
                <a:spcAft>
                  <a:spcPts val="450"/>
                </a:spcAft>
              </a:pPr>
              <a:endParaRPr lang="en-GB" sz="1800" err="1">
                <a:solidFill>
                  <a:schemeClr val="bg1"/>
                </a:solidFill>
                <a:latin typeface="+mn-lt"/>
                <a:cs typeface="Arial"/>
              </a:endParaRPr>
            </a:p>
          </p:txBody>
        </p:sp>
        <p:sp>
          <p:nvSpPr>
            <p:cNvPr id="21" name="Diamond 20">
              <a:extLst>
                <a:ext uri="{FF2B5EF4-FFF2-40B4-BE49-F238E27FC236}">
                  <a16:creationId xmlns:a16="http://schemas.microsoft.com/office/drawing/2014/main" id="{186FA247-99C7-6EC7-D1A1-FB0B4BAA72A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950659" y="2678872"/>
              <a:ext cx="556748" cy="556748"/>
            </a:xfrm>
            <a:prstGeom prst="diamond">
              <a:avLst/>
            </a:prstGeom>
            <a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 l="-37123" t="-13749" r="-38573" b="-7579"/>
              </a:stretch>
            </a:blip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algn="l">
                <a:spcAft>
                  <a:spcPts val="450"/>
                </a:spcAft>
              </a:pPr>
              <a:endParaRPr lang="en-GB" sz="1800" err="1">
                <a:solidFill>
                  <a:schemeClr val="bg1"/>
                </a:solidFill>
                <a:latin typeface="+mn-lt"/>
                <a:cs typeface="Arial"/>
              </a:endParaRPr>
            </a:p>
          </p:txBody>
        </p:sp>
        <p:sp>
          <p:nvSpPr>
            <p:cNvPr id="22" name="Diamond 21">
              <a:extLst>
                <a:ext uri="{FF2B5EF4-FFF2-40B4-BE49-F238E27FC236}">
                  <a16:creationId xmlns:a16="http://schemas.microsoft.com/office/drawing/2014/main" id="{AF35C178-0212-15AD-8739-E7394EB6A07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383840" y="2943221"/>
              <a:ext cx="788071" cy="788071"/>
            </a:xfrm>
            <a:prstGeom prst="diamond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algn="l">
                <a:spcAft>
                  <a:spcPts val="450"/>
                </a:spcAft>
              </a:pPr>
              <a:endParaRPr lang="en-GB" sz="1800" err="1">
                <a:solidFill>
                  <a:schemeClr val="bg1"/>
                </a:solidFill>
                <a:latin typeface="+mn-lt"/>
                <a:cs typeface="Arial"/>
              </a:endParaRP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1904E624-C618-FFCE-1085-820099D95B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76632" y="2943221"/>
              <a:ext cx="788071" cy="788071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EEFB5458-B3E2-A27E-6FA9-7391B9EA79C0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975703" y="1782892"/>
              <a:ext cx="551650" cy="551650"/>
            </a:xfrm>
            <a:prstGeom prst="rect">
              <a:avLst/>
            </a:prstGeom>
          </p:spPr>
        </p:pic>
      </p:grpSp>
      <p:pic>
        <p:nvPicPr>
          <p:cNvPr id="26" name="Picture 25">
            <a:extLst>
              <a:ext uri="{FF2B5EF4-FFF2-40B4-BE49-F238E27FC236}">
                <a16:creationId xmlns:a16="http://schemas.microsoft.com/office/drawing/2014/main" id="{5A24CBE3-FA5E-E228-2B06-AA21087851C1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1021" y="292683"/>
            <a:ext cx="1800000" cy="3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186453"/>
      </p:ext>
    </p:extLst>
  </p:cSld>
  <p:clrMapOvr>
    <a:masterClrMapping/>
  </p:clrMapOvr>
  <p:transition>
    <p:fade/>
  </p:transition>
  <p:hf sldNum="0" hdr="0" dt="0"/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4853634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4853634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  <p:sp>
        <p:nvSpPr>
          <p:cNvPr id="10" name="Round Diagonal Corner Rectangle 4">
            <a:extLst>
              <a:ext uri="{FF2B5EF4-FFF2-40B4-BE49-F238E27FC236}">
                <a16:creationId xmlns:a16="http://schemas.microsoft.com/office/drawing/2014/main" id="{16DC8360-D4F7-405A-BF06-04DDCFD5DEFE}"/>
              </a:ext>
            </a:extLst>
          </p:cNvPr>
          <p:cNvSpPr/>
          <p:nvPr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3" name="Picture 2" descr="A picture containing text, businesscard&#10;&#10;Description automatically generated">
            <a:extLst>
              <a:ext uri="{FF2B5EF4-FFF2-40B4-BE49-F238E27FC236}">
                <a16:creationId xmlns:a16="http://schemas.microsoft.com/office/drawing/2014/main" id="{1694041A-DE5F-4766-A2E7-48A3DD37111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41575" y="1028196"/>
            <a:ext cx="4810796" cy="480127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6094CF44-9E71-4C80-87D8-0705D1412C6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93895" y="104161"/>
            <a:ext cx="6730329" cy="6527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447596"/>
      </p:ext>
    </p:extLst>
  </p:cSld>
  <p:clrMapOvr>
    <a:masterClrMapping/>
  </p:clrMapOvr>
  <p:transition>
    <p:fade/>
  </p:transition>
  <p:hf sldNum="0" hdr="0" dt="0"/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businesscard&#10;&#10;Description automatically generated">
            <a:extLst>
              <a:ext uri="{FF2B5EF4-FFF2-40B4-BE49-F238E27FC236}">
                <a16:creationId xmlns:a16="http://schemas.microsoft.com/office/drawing/2014/main" id="{1694041A-DE5F-4766-A2E7-48A3DD3711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3894" y="9573"/>
            <a:ext cx="6730329" cy="6717002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4853633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  <p:sp>
        <p:nvSpPr>
          <p:cNvPr id="10" name="Round Diagonal Corner Rectangle 4">
            <a:extLst>
              <a:ext uri="{FF2B5EF4-FFF2-40B4-BE49-F238E27FC236}">
                <a16:creationId xmlns:a16="http://schemas.microsoft.com/office/drawing/2014/main" id="{16DC8360-D4F7-405A-BF06-04DDCFD5DEFE}"/>
              </a:ext>
            </a:extLst>
          </p:cNvPr>
          <p:cNvSpPr/>
          <p:nvPr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025463365"/>
      </p:ext>
    </p:extLst>
  </p:cSld>
  <p:clrMapOvr>
    <a:masterClrMapping/>
  </p:clrMapOvr>
  <p:transition>
    <p:fade/>
  </p:transition>
  <p:hf sldNum="0" hdr="0" dt="0"/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4984479-1823-4BDB-AAA8-6F7D67888FD9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1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8BD2EEFA-8252-4979-8B48-D13EEB8A4E19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endParaRPr lang="en-GB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4A49F27C-7E3B-4D20-B431-E1FC318DDF6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  <p:sp>
        <p:nvSpPr>
          <p:cNvPr id="10" name="Round Diagonal Corner Rectangle 4">
            <a:extLst>
              <a:ext uri="{FF2B5EF4-FFF2-40B4-BE49-F238E27FC236}">
                <a16:creationId xmlns:a16="http://schemas.microsoft.com/office/drawing/2014/main" id="{16DC8360-D4F7-405A-BF06-04DDCFD5DEFE}"/>
              </a:ext>
            </a:extLst>
          </p:cNvPr>
          <p:cNvSpPr/>
          <p:nvPr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321196330"/>
      </p:ext>
    </p:extLst>
  </p:cSld>
  <p:clrMapOvr>
    <a:masterClrMapping/>
  </p:clrMapOvr>
  <p:transition>
    <p:fade/>
  </p:transition>
  <p:hf sldNum="0" hdr="0" dt="0"/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881F154E-355B-5144-AF43-F412F37451CD}"/>
              </a:ext>
            </a:extLst>
          </p:cNvPr>
          <p:cNvSpPr/>
          <p:nvPr/>
        </p:nvSpPr>
        <p:spPr bwMode="auto">
          <a:xfrm>
            <a:off x="6227763" y="0"/>
            <a:ext cx="5964237" cy="685800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US" sz="18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7"/>
            <a:ext cx="5478227" cy="25029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A62F82BF-1E68-D14F-80C2-274D670A6789}"/>
              </a:ext>
            </a:extLst>
          </p:cNvPr>
          <p:cNvSpPr/>
          <p:nvPr/>
        </p:nvSpPr>
        <p:spPr bwMode="auto">
          <a:xfrm>
            <a:off x="0" y="-12668"/>
            <a:ext cx="111211" cy="6877307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US" sz="18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11" name="Triangle 1">
            <a:extLst>
              <a:ext uri="{FF2B5EF4-FFF2-40B4-BE49-F238E27FC236}">
                <a16:creationId xmlns:a16="http://schemas.microsoft.com/office/drawing/2014/main" id="{858BBB15-7D9B-4F31-B742-7953A1219D6C}"/>
              </a:ext>
            </a:extLst>
          </p:cNvPr>
          <p:cNvSpPr/>
          <p:nvPr/>
        </p:nvSpPr>
        <p:spPr bwMode="auto">
          <a:xfrm rot="5400000">
            <a:off x="-30006" y="485265"/>
            <a:ext cx="527233" cy="270233"/>
          </a:xfrm>
          <a:prstGeom prst="triangl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47516035"/>
      </p:ext>
    </p:extLst>
  </p:cSld>
  <p:clrMapOvr>
    <a:masterClrMapping/>
  </p:clrMapOvr>
  <p:transition>
    <p:fade/>
  </p:transition>
  <p:hf sldNum="0"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972A00B0-5109-4795-B6DD-671C71DA144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7" name="Round Diagonal Corner Rectangle 4">
            <a:extLst>
              <a:ext uri="{FF2B5EF4-FFF2-40B4-BE49-F238E27FC236}">
                <a16:creationId xmlns:a16="http://schemas.microsoft.com/office/drawing/2014/main" id="{231B8D91-3113-4251-BBA5-C25AE54B04E5}"/>
              </a:ext>
            </a:extLst>
          </p:cNvPr>
          <p:cNvSpPr/>
          <p:nvPr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022100650"/>
      </p:ext>
    </p:extLst>
  </p:cSld>
  <p:clrMapOvr>
    <a:masterClrMapping/>
  </p:clrMapOvr>
  <p:transition>
    <p:fade/>
  </p:transition>
  <p:hf sldNum="0"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FS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2C0684-112B-4F92-A47A-9BAFDF17CFCB}" type="datetimeFigureOut">
              <a:rPr lang="en-GB" smtClean="0"/>
              <a:t>18/05/2026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tabLst>
                <a:tab pos="1318255" algn="l"/>
              </a:tabLst>
            </a:pPr>
            <a:r>
              <a:rPr lang="fr-FR"/>
              <a:t>IT Updates - September 2019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DB671-66D2-4F27-87BF-9CC639C630D6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F88F72A-D010-D4AE-A124-5A7F314A691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105"/>
            <a:ext cx="12199307" cy="6853895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3F1134AE-BE13-832A-5269-E714558D0FB6}"/>
              </a:ext>
            </a:extLst>
          </p:cNvPr>
          <p:cNvPicPr>
            <a:picLocks noChangeAspect="1"/>
          </p:cNvPicPr>
          <p:nvPr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6642"/>
            <a:ext cx="1881099" cy="386649"/>
          </a:xfrm>
          <a:prstGeom prst="rect">
            <a:avLst/>
          </a:prstGeom>
        </p:spPr>
      </p:pic>
      <p:pic>
        <p:nvPicPr>
          <p:cNvPr id="9" name="Picture 8" descr="A red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F608C6BC-7624-423A-9081-A5299D1914D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2200" y="4953235"/>
            <a:ext cx="1548000" cy="1548000"/>
          </a:xfrm>
          <a:prstGeom prst="rect">
            <a:avLst/>
          </a:prstGeom>
        </p:spPr>
      </p:pic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A8C7993D-14D6-43E1-8029-B231622D16C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2361" y="2169252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2191541"/>
      </p:ext>
    </p:extLst>
  </p:cSld>
  <p:clrMapOvr>
    <a:masterClrMapping/>
  </p:clrMapOvr>
  <p:hf sldNum="0" hd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F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72CA272-A100-862F-1692-5868991304F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3" y="1424518"/>
            <a:ext cx="11329827" cy="25029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5" name="Picture 4" descr="A red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F0452BAD-5E56-4CA8-9BF2-820DB69A63A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2200" y="4953235"/>
            <a:ext cx="1548000" cy="15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5442508"/>
      </p:ext>
    </p:extLst>
  </p:cSld>
  <p:clrMapOvr>
    <a:masterClrMapping/>
  </p:clrMapOvr>
  <p:transition>
    <p:fade/>
  </p:transition>
  <p:hf sldNum="0" hd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5334000" y="1856146"/>
            <a:ext cx="6858000" cy="5001855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8926940"/>
      </p:ext>
    </p:extLst>
  </p:cSld>
  <p:clrMapOvr>
    <a:masterClrMapping/>
  </p:clrMapOvr>
  <p:transition>
    <p:fade/>
  </p:transition>
  <p:hf sldNum="0" hdr="0" dt="0"/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55432" y="2771098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010163"/>
      </p:ext>
    </p:extLst>
  </p:cSld>
  <p:clrMapOvr>
    <a:masterClrMapping/>
  </p:clrMapOvr>
  <p:transition>
    <p:fade/>
  </p:transition>
  <p:hf sldNum="0" hd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ck cov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/>
        </p:nvSpPr>
        <p:spPr>
          <a:xfrm>
            <a:off x="11340861" y="6371168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2329877579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10D3007-08EE-46DC-BC1C-C4E34D710C2A}"/>
              </a:ext>
            </a:extLst>
          </p:cNvPr>
          <p:cNvSpPr/>
          <p:nvPr userDrawn="1"/>
        </p:nvSpPr>
        <p:spPr>
          <a:xfrm rot="5400000">
            <a:off x="-254853" y="3628676"/>
            <a:ext cx="3484178" cy="2974473"/>
          </a:xfrm>
          <a:custGeom>
            <a:avLst/>
            <a:gdLst>
              <a:gd name="connsiteX0" fmla="*/ 0 w 3484178"/>
              <a:gd name="connsiteY0" fmla="*/ 2228656 h 2973698"/>
              <a:gd name="connsiteX1" fmla="*/ 2228656 w 3484178"/>
              <a:gd name="connsiteY1" fmla="*/ 0 h 2973698"/>
              <a:gd name="connsiteX2" fmla="*/ 3474719 w 3484178"/>
              <a:gd name="connsiteY2" fmla="*/ 380619 h 2973698"/>
              <a:gd name="connsiteX3" fmla="*/ 3484178 w 3484178"/>
              <a:gd name="connsiteY3" fmla="*/ 387692 h 2973698"/>
              <a:gd name="connsiteX4" fmla="*/ 3484178 w 3484178"/>
              <a:gd name="connsiteY4" fmla="*/ 2973698 h 2973698"/>
              <a:gd name="connsiteX5" fmla="*/ 130321 w 3484178"/>
              <a:gd name="connsiteY5" fmla="*/ 2973698 h 2973698"/>
              <a:gd name="connsiteX6" fmla="*/ 100196 w 3484178"/>
              <a:gd name="connsiteY6" fmla="*/ 2891390 h 2973698"/>
              <a:gd name="connsiteX7" fmla="*/ 0 w 3484178"/>
              <a:gd name="connsiteY7" fmla="*/ 2228656 h 2973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84178" h="2973698">
                <a:moveTo>
                  <a:pt x="0" y="2228656"/>
                </a:moveTo>
                <a:cubicBezTo>
                  <a:pt x="0" y="997803"/>
                  <a:pt x="997803" y="0"/>
                  <a:pt x="2228656" y="0"/>
                </a:cubicBezTo>
                <a:cubicBezTo>
                  <a:pt x="2690226" y="0"/>
                  <a:pt x="3119023" y="140316"/>
                  <a:pt x="3474719" y="380619"/>
                </a:cubicBezTo>
                <a:lnTo>
                  <a:pt x="3484178" y="387692"/>
                </a:lnTo>
                <a:lnTo>
                  <a:pt x="3484178" y="2973698"/>
                </a:lnTo>
                <a:lnTo>
                  <a:pt x="130321" y="2973698"/>
                </a:lnTo>
                <a:lnTo>
                  <a:pt x="100196" y="2891390"/>
                </a:lnTo>
                <a:cubicBezTo>
                  <a:pt x="35079" y="2682033"/>
                  <a:pt x="0" y="2459441"/>
                  <a:pt x="0" y="222865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 sz="1799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4"/>
            <a:ext cx="2844800" cy="365125"/>
          </a:xfrm>
          <a:prstGeom prst="rect">
            <a:avLst/>
          </a:prstGeom>
        </p:spPr>
        <p:txBody>
          <a:bodyPr/>
          <a:lstStyle/>
          <a:p>
            <a:fld id="{9578D6DB-6798-42D2-B9AD-FC6F1C72FC30}" type="datetimeFigureOut">
              <a:rPr lang="en-US" smtClean="0"/>
              <a:pPr/>
              <a:t>5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2" y="6356354"/>
            <a:ext cx="2844800" cy="365125"/>
          </a:xfrm>
          <a:prstGeom prst="rect">
            <a:avLst/>
          </a:prstGeom>
        </p:spPr>
        <p:txBody>
          <a:bodyPr/>
          <a:lstStyle/>
          <a:p>
            <a:fld id="{E5EDE275-BE14-4364-AEA2-5F5667C0FD4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21120DA3-6E5F-4689-B983-176A73B04A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5960" y="4801855"/>
            <a:ext cx="6645478" cy="1362075"/>
          </a:xfrm>
        </p:spPr>
        <p:txBody>
          <a:bodyPr anchor="b">
            <a:noAutofit/>
          </a:bodyPr>
          <a:lstStyle>
            <a:lvl1pPr algn="l">
              <a:defRPr sz="6598" b="1" cap="none">
                <a:solidFill>
                  <a:schemeClr val="accent2">
                    <a:lumMod val="50000"/>
                  </a:schemeClr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6D17F2DF-0580-4FD0-915F-033F36D9FF1C}"/>
              </a:ext>
            </a:extLst>
          </p:cNvPr>
          <p:cNvSpPr/>
          <p:nvPr userDrawn="1"/>
        </p:nvSpPr>
        <p:spPr>
          <a:xfrm>
            <a:off x="7608563" y="-1"/>
            <a:ext cx="4583437" cy="4074173"/>
          </a:xfrm>
          <a:custGeom>
            <a:avLst/>
            <a:gdLst>
              <a:gd name="connsiteX0" fmla="*/ 128598 w 5418703"/>
              <a:gd name="connsiteY0" fmla="*/ 0 h 4817888"/>
              <a:gd name="connsiteX1" fmla="*/ 5418703 w 5418703"/>
              <a:gd name="connsiteY1" fmla="*/ 0 h 4817888"/>
              <a:gd name="connsiteX2" fmla="*/ 5418703 w 5418703"/>
              <a:gd name="connsiteY2" fmla="*/ 4473842 h 4817888"/>
              <a:gd name="connsiteX3" fmla="*/ 5323821 w 5418703"/>
              <a:gd name="connsiteY3" fmla="*/ 4516737 h 4817888"/>
              <a:gd name="connsiteX4" fmla="*/ 3832168 w 5418703"/>
              <a:gd name="connsiteY4" fmla="*/ 4817888 h 4817888"/>
              <a:gd name="connsiteX5" fmla="*/ 0 w 5418703"/>
              <a:gd name="connsiteY5" fmla="*/ 985720 h 4817888"/>
              <a:gd name="connsiteX6" fmla="*/ 120647 w 5418703"/>
              <a:gd name="connsiteY6" fmla="*/ 28001 h 4817888"/>
              <a:gd name="connsiteX7" fmla="*/ 128598 w 5418703"/>
              <a:gd name="connsiteY7" fmla="*/ 0 h 4817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418703" h="4817888">
                <a:moveTo>
                  <a:pt x="128598" y="0"/>
                </a:moveTo>
                <a:lnTo>
                  <a:pt x="5418703" y="0"/>
                </a:lnTo>
                <a:lnTo>
                  <a:pt x="5418703" y="4473842"/>
                </a:lnTo>
                <a:lnTo>
                  <a:pt x="5323821" y="4516737"/>
                </a:lnTo>
                <a:cubicBezTo>
                  <a:pt x="4865347" y="4710656"/>
                  <a:pt x="4361280" y="4817888"/>
                  <a:pt x="3832168" y="4817888"/>
                </a:cubicBezTo>
                <a:cubicBezTo>
                  <a:pt x="1715720" y="4817888"/>
                  <a:pt x="0" y="3102168"/>
                  <a:pt x="0" y="985720"/>
                </a:cubicBezTo>
                <a:cubicBezTo>
                  <a:pt x="0" y="655025"/>
                  <a:pt x="41887" y="334113"/>
                  <a:pt x="120647" y="28001"/>
                </a:cubicBezTo>
                <a:lnTo>
                  <a:pt x="128598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 sz="1799"/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147E1D2D-FC9A-4BFF-9937-6F6E70107A2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248428" y="2887398"/>
            <a:ext cx="3532396" cy="3531476"/>
          </a:xfrm>
          <a:custGeom>
            <a:avLst/>
            <a:gdLst>
              <a:gd name="connsiteX0" fmla="*/ 1765738 w 3531476"/>
              <a:gd name="connsiteY0" fmla="*/ 0 h 3531476"/>
              <a:gd name="connsiteX1" fmla="*/ 3531476 w 3531476"/>
              <a:gd name="connsiteY1" fmla="*/ 1765738 h 3531476"/>
              <a:gd name="connsiteX2" fmla="*/ 1765738 w 3531476"/>
              <a:gd name="connsiteY2" fmla="*/ 3531476 h 3531476"/>
              <a:gd name="connsiteX3" fmla="*/ 0 w 3531476"/>
              <a:gd name="connsiteY3" fmla="*/ 1765738 h 3531476"/>
              <a:gd name="connsiteX4" fmla="*/ 1765738 w 3531476"/>
              <a:gd name="connsiteY4" fmla="*/ 0 h 3531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31476" h="3531476">
                <a:moveTo>
                  <a:pt x="1765738" y="0"/>
                </a:moveTo>
                <a:cubicBezTo>
                  <a:pt x="2740928" y="0"/>
                  <a:pt x="3531476" y="790548"/>
                  <a:pt x="3531476" y="1765738"/>
                </a:cubicBezTo>
                <a:cubicBezTo>
                  <a:pt x="3531476" y="2740928"/>
                  <a:pt x="2740928" y="3531476"/>
                  <a:pt x="1765738" y="3531476"/>
                </a:cubicBezTo>
                <a:cubicBezTo>
                  <a:pt x="790548" y="3531476"/>
                  <a:pt x="0" y="2740928"/>
                  <a:pt x="0" y="1765738"/>
                </a:cubicBezTo>
                <a:cubicBezTo>
                  <a:pt x="0" y="790548"/>
                  <a:pt x="790548" y="0"/>
                  <a:pt x="1765738" y="0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>
            <a:outerShdw blurRad="723900" dist="469900" dir="8100000" algn="tr" rotWithShape="0">
              <a:prstClr val="black">
                <a:alpha val="12000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17169993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9"/>
            <a:ext cx="73912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6"/>
            <a:ext cx="739282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415EBFD-084A-4878-8287-2E1A3FCE8D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2" y="6320503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308CCAE-A613-4894-962F-B9332D979AE1}"/>
              </a:ext>
            </a:extLst>
          </p:cNvPr>
          <p:cNvGrpSpPr/>
          <p:nvPr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8" name="Guidance note">
              <a:extLst>
                <a:ext uri="{FF2B5EF4-FFF2-40B4-BE49-F238E27FC236}">
                  <a16:creationId xmlns:a16="http://schemas.microsoft.com/office/drawing/2014/main" id="{753381CB-CFAD-4C37-9043-05C8A52380A7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FA04F91-854A-4895-BD97-24C8BB928F41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0" name="Picture 3">
                <a:extLst>
                  <a:ext uri="{FF2B5EF4-FFF2-40B4-BE49-F238E27FC236}">
                    <a16:creationId xmlns:a16="http://schemas.microsoft.com/office/drawing/2014/main" id="{9CABB711-E1AB-41A2-A779-C8967E1B901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" name="Rounded Rectangle 20">
                <a:extLst>
                  <a:ext uri="{FF2B5EF4-FFF2-40B4-BE49-F238E27FC236}">
                    <a16:creationId xmlns:a16="http://schemas.microsoft.com/office/drawing/2014/main" id="{702CAAD7-0480-4B1D-A46C-986161320307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86035883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6838587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8"/>
            <a:ext cx="73912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5"/>
            <a:ext cx="739282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415EBFD-084A-4878-8287-2E1A3FCE8D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308CCAE-A613-4894-962F-B9332D979AE1}"/>
              </a:ext>
            </a:extLst>
          </p:cNvPr>
          <p:cNvGrpSpPr/>
          <p:nvPr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8" name="Guidance note">
              <a:extLst>
                <a:ext uri="{FF2B5EF4-FFF2-40B4-BE49-F238E27FC236}">
                  <a16:creationId xmlns:a16="http://schemas.microsoft.com/office/drawing/2014/main" id="{753381CB-CFAD-4C37-9043-05C8A52380A7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FA04F91-854A-4895-BD97-24C8BB928F41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0" name="Picture 3">
                <a:extLst>
                  <a:ext uri="{FF2B5EF4-FFF2-40B4-BE49-F238E27FC236}">
                    <a16:creationId xmlns:a16="http://schemas.microsoft.com/office/drawing/2014/main" id="{9CABB711-E1AB-41A2-A779-C8967E1B901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" name="Rounded Rectangle 20">
                <a:extLst>
                  <a:ext uri="{FF2B5EF4-FFF2-40B4-BE49-F238E27FC236}">
                    <a16:creationId xmlns:a16="http://schemas.microsoft.com/office/drawing/2014/main" id="{702CAAD7-0480-4B1D-A46C-986161320307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616682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7"/>
            <a:ext cx="7392828" cy="25029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A62F82BF-1E68-D14F-80C2-274D670A6789}"/>
              </a:ext>
            </a:extLst>
          </p:cNvPr>
          <p:cNvSpPr/>
          <p:nvPr/>
        </p:nvSpPr>
        <p:spPr bwMode="auto">
          <a:xfrm>
            <a:off x="0" y="-12668"/>
            <a:ext cx="111211" cy="6877307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US" sz="18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10" name="Triangle 1">
            <a:extLst>
              <a:ext uri="{FF2B5EF4-FFF2-40B4-BE49-F238E27FC236}">
                <a16:creationId xmlns:a16="http://schemas.microsoft.com/office/drawing/2014/main" id="{3EA5FA9C-A5A8-46BA-9507-F71776EDC31D}"/>
              </a:ext>
            </a:extLst>
          </p:cNvPr>
          <p:cNvSpPr/>
          <p:nvPr/>
        </p:nvSpPr>
        <p:spPr bwMode="auto">
          <a:xfrm rot="5400000">
            <a:off x="-30006" y="485265"/>
            <a:ext cx="527233" cy="270233"/>
          </a:xfrm>
          <a:prstGeom prst="triangl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22469231"/>
      </p:ext>
    </p:extLst>
  </p:cSld>
  <p:clrMapOvr>
    <a:masterClrMapping/>
  </p:clrMapOvr>
  <p:transition>
    <p:fade/>
  </p:transition>
  <p:hf sldNum="0" hd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9F52CBFD-699B-45C5-A157-E323D3A6D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416668"/>
            <a:ext cx="5424817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54D8696-31B7-4DB8-B15D-873BDA4653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5184" y="1416668"/>
            <a:ext cx="5424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42441E-8F2C-4081-9DA0-77F80225EC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EB7EAF22-09C0-49C9-9811-75AF4CD216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endParaRPr lang="en-US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6800D90-E2FB-42D1-8CB6-1955ED546129}"/>
              </a:ext>
            </a:extLst>
          </p:cNvPr>
          <p:cNvGrpSpPr/>
          <p:nvPr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5" name="Guidance note">
              <a:extLst>
                <a:ext uri="{FF2B5EF4-FFF2-40B4-BE49-F238E27FC236}">
                  <a16:creationId xmlns:a16="http://schemas.microsoft.com/office/drawing/2014/main" id="{819ED999-6999-46F4-B7A1-EFF10837A570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1B633B5A-3193-4605-B154-E0B8CB89CCB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7" name="Picture 3">
                <a:extLst>
                  <a:ext uri="{FF2B5EF4-FFF2-40B4-BE49-F238E27FC236}">
                    <a16:creationId xmlns:a16="http://schemas.microsoft.com/office/drawing/2014/main" id="{585F499E-E2AE-40D1-BBDA-189BC79FDB9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20">
                <a:extLst>
                  <a:ext uri="{FF2B5EF4-FFF2-40B4-BE49-F238E27FC236}">
                    <a16:creationId xmlns:a16="http://schemas.microsoft.com/office/drawing/2014/main" id="{752EE2C4-E482-438A-9070-A14C38B6146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0855362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One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0C88B5B-AAF5-47BD-AD69-1EE3F9438DF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416668"/>
            <a:ext cx="5424817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37301" y="1416051"/>
            <a:ext cx="5402583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44373E4D-07C5-468F-A7BD-C7AD22C776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endParaRPr lang="en-US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BC6F12F-E651-47EF-873C-C4BCFD73026C}"/>
              </a:ext>
            </a:extLst>
          </p:cNvPr>
          <p:cNvGrpSpPr/>
          <p:nvPr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34" name="Guidance note">
              <a:extLst>
                <a:ext uri="{FF2B5EF4-FFF2-40B4-BE49-F238E27FC236}">
                  <a16:creationId xmlns:a16="http://schemas.microsoft.com/office/drawing/2014/main" id="{F95C3436-B6EE-47A5-8CDF-DFC1CEE6A784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F50E3572-442E-4063-AED5-829AB7EAA7C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6" name="Picture 3">
                <a:extLst>
                  <a:ext uri="{FF2B5EF4-FFF2-40B4-BE49-F238E27FC236}">
                    <a16:creationId xmlns:a16="http://schemas.microsoft.com/office/drawing/2014/main" id="{97890FFF-8342-4E6A-B73E-44D0FCF7A25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7" name="Rounded Rectangle 20">
                <a:extLst>
                  <a:ext uri="{FF2B5EF4-FFF2-40B4-BE49-F238E27FC236}">
                    <a16:creationId xmlns:a16="http://schemas.microsoft.com/office/drawing/2014/main" id="{C5F8D64F-558B-4EE8-B969-C40A6125D25D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9" name="Round Diagonal Corner Rectangle 4">
            <a:extLst>
              <a:ext uri="{FF2B5EF4-FFF2-40B4-BE49-F238E27FC236}">
                <a16:creationId xmlns:a16="http://schemas.microsoft.com/office/drawing/2014/main" id="{DEEFE2A4-9E60-4329-8F38-C8621FA2D86F}"/>
              </a:ext>
            </a:extLst>
          </p:cNvPr>
          <p:cNvSpPr/>
          <p:nvPr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44342791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5" y="1416051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8"/>
            <a:ext cx="3456319" cy="2872325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8"/>
            <a:ext cx="3456000" cy="2872325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51113535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8"/>
            <a:ext cx="3456319" cy="2872325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800" y="1416668"/>
            <a:ext cx="3456000" cy="2872325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5281" y="1416667"/>
            <a:ext cx="3456000" cy="2092880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8401A2-6451-4E45-96E0-C555AE389B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1993E21-89C4-43F1-B0DA-3D71670B0B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2EC9A99-CBD6-4BA5-A71D-10F2DFE9CFA1}"/>
              </a:ext>
            </a:extLst>
          </p:cNvPr>
          <p:cNvGrpSpPr/>
          <p:nvPr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6ADE5D12-11A2-4CCE-81CB-203511BF5C3F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E081217D-4EA5-40B0-9EA6-FAD35195E17C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464DB892-B193-4994-87A1-F3005D1BEA0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5" name="Rounded Rectangle 20">
                <a:extLst>
                  <a:ext uri="{FF2B5EF4-FFF2-40B4-BE49-F238E27FC236}">
                    <a16:creationId xmlns:a16="http://schemas.microsoft.com/office/drawing/2014/main" id="{4CE544B9-8DF2-4C6C-B878-A4384379E280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5687642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Key message +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7"/>
            <a:ext cx="3456000" cy="3552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800"/>
              </a:spcAft>
              <a:defRPr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2133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21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8"/>
            <a:ext cx="3456000" cy="2872325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8"/>
            <a:ext cx="3456000" cy="2872325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96A342-D873-47FF-A0CB-ED762BAF6C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F1F48095-532B-4817-BFFB-AF6AF6A81C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endParaRPr lang="en-US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2F101B0-C15C-4E8B-BCD8-94C6F9FA8B71}"/>
              </a:ext>
            </a:extLst>
          </p:cNvPr>
          <p:cNvGrpSpPr/>
          <p:nvPr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7" name="Guidance note">
              <a:extLst>
                <a:ext uri="{FF2B5EF4-FFF2-40B4-BE49-F238E27FC236}">
                  <a16:creationId xmlns:a16="http://schemas.microsoft.com/office/drawing/2014/main" id="{5019EF20-6B36-43C9-BDEB-3621A64EB545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B21C0FE1-B9EF-4B93-932D-4FD8C477B3AE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9" name="Picture 3">
                <a:extLst>
                  <a:ext uri="{FF2B5EF4-FFF2-40B4-BE49-F238E27FC236}">
                    <a16:creationId xmlns:a16="http://schemas.microsoft.com/office/drawing/2014/main" id="{7C1D4B64-6112-4E50-93D6-4D6DF530DF8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0" name="Rounded Rectangle 20">
                <a:extLst>
                  <a:ext uri="{FF2B5EF4-FFF2-40B4-BE49-F238E27FC236}">
                    <a16:creationId xmlns:a16="http://schemas.microsoft.com/office/drawing/2014/main" id="{4E55863B-5F7C-47FB-BB27-4E84CB7B252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8944841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Key message +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8"/>
            <a:ext cx="3456000" cy="2872325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AFD44EC-D9DC-4A2D-91EF-9F07DE3F1CE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1999" y="1416668"/>
            <a:ext cx="3456000" cy="2872325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D6B893-85E5-4E35-9461-E7E97ADE1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2177FB2-8BB7-4D7D-AD52-7C859E8DFE4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04000" y="1416667"/>
            <a:ext cx="3456000" cy="3552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800"/>
              </a:spcAft>
              <a:defRPr sz="240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2133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21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CC0BFDE7-E46E-4D15-A8FA-219C8CB4D4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6F0B578-E378-46F0-A4C9-1552A629C76D}"/>
              </a:ext>
            </a:extLst>
          </p:cNvPr>
          <p:cNvGrpSpPr/>
          <p:nvPr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8" name="Guidance note">
              <a:extLst>
                <a:ext uri="{FF2B5EF4-FFF2-40B4-BE49-F238E27FC236}">
                  <a16:creationId xmlns:a16="http://schemas.microsoft.com/office/drawing/2014/main" id="{F2DEB423-320E-404F-8B3B-CCFAFB4B5554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3BE6250-E57A-419B-A962-5A85632A71B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0" name="Picture 3">
                <a:extLst>
                  <a:ext uri="{FF2B5EF4-FFF2-40B4-BE49-F238E27FC236}">
                    <a16:creationId xmlns:a16="http://schemas.microsoft.com/office/drawing/2014/main" id="{3815D591-B560-4B71-ACE3-786F10B3EDF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1" name="Rounded Rectangle 20">
                <a:extLst>
                  <a:ext uri="{FF2B5EF4-FFF2-40B4-BE49-F238E27FC236}">
                    <a16:creationId xmlns:a16="http://schemas.microsoft.com/office/drawing/2014/main" id="{D9C85BF9-7030-4B6C-A627-472B55A9DB3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5874489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24DF50-EEA0-4A06-8714-8D21D9F9F1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8"/>
            <a:ext cx="7392828" cy="25032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12313144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One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83EBF3A2-2E7C-4F57-BC5D-3417991A9CB8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304000" y="1416667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7845B65-2392-4819-94E4-E3EB31C4C45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8"/>
            <a:ext cx="7392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55748E-1187-40E6-90FF-F8CB13BAB0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1060961F-7E65-4122-8275-120EE663A9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endParaRPr lang="en-US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D1AD628-1E99-41AE-A4DE-E8D47E3F2A00}"/>
              </a:ext>
            </a:extLst>
          </p:cNvPr>
          <p:cNvGrpSpPr/>
          <p:nvPr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6" name="Guidance note">
              <a:extLst>
                <a:ext uri="{FF2B5EF4-FFF2-40B4-BE49-F238E27FC236}">
                  <a16:creationId xmlns:a16="http://schemas.microsoft.com/office/drawing/2014/main" id="{C3AD16BC-865F-4730-B576-3924C11BBB5C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918825A-E661-4165-AFAF-DF026ACCBF7D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8" name="Picture 3">
                <a:extLst>
                  <a:ext uri="{FF2B5EF4-FFF2-40B4-BE49-F238E27FC236}">
                    <a16:creationId xmlns:a16="http://schemas.microsoft.com/office/drawing/2014/main" id="{D670EEFD-71A1-460B-93B0-010CABE4F6E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9" name="Rounded Rectangle 20">
                <a:extLst>
                  <a:ext uri="{FF2B5EF4-FFF2-40B4-BE49-F238E27FC236}">
                    <a16:creationId xmlns:a16="http://schemas.microsoft.com/office/drawing/2014/main" id="{518490A9-DA83-4553-86AD-17100E2D20A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1" name="Guidance note">
            <a:extLst>
              <a:ext uri="{FF2B5EF4-FFF2-40B4-BE49-F238E27FC236}">
                <a16:creationId xmlns:a16="http://schemas.microsoft.com/office/drawing/2014/main" id="{00BC0673-5213-4DA3-BE67-C1DB97C4A10F}"/>
              </a:ext>
            </a:extLst>
          </p:cNvPr>
          <p:cNvSpPr/>
          <p:nvPr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337890539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FC37DAF-12F7-4FE3-99E2-B1BC731C4CD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8"/>
            <a:ext cx="3456000" cy="2872325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EC6E2C5-7988-4109-B04E-4C5B434E0D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68000" y="1416668"/>
            <a:ext cx="3456000" cy="2872325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hart Placeholder 5">
            <a:extLst>
              <a:ext uri="{FF2B5EF4-FFF2-40B4-BE49-F238E27FC236}">
                <a16:creationId xmlns:a16="http://schemas.microsoft.com/office/drawing/2014/main" id="{59BB4BB1-10D0-4A42-B2B1-1F058F0E5999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304000" y="1416667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5803B18-A6C4-48D8-9A57-624954E4C4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03A40AB7-029F-4311-80FC-0AAAE2F69D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D78705A-DCC5-4C39-8BC7-0071FE0B6E9D}"/>
              </a:ext>
            </a:extLst>
          </p:cNvPr>
          <p:cNvGrpSpPr/>
          <p:nvPr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8" name="Guidance note">
              <a:extLst>
                <a:ext uri="{FF2B5EF4-FFF2-40B4-BE49-F238E27FC236}">
                  <a16:creationId xmlns:a16="http://schemas.microsoft.com/office/drawing/2014/main" id="{C6E2522F-9DAA-41D3-8636-CA2AD6DF26DE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F8CA62A-2C50-48E5-8954-5C3104C2B475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1" name="Picture 3">
                <a:extLst>
                  <a:ext uri="{FF2B5EF4-FFF2-40B4-BE49-F238E27FC236}">
                    <a16:creationId xmlns:a16="http://schemas.microsoft.com/office/drawing/2014/main" id="{37ACEAC6-5EC9-49C5-A059-7A0DC1FCC3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ounded Rectangle 20">
                <a:extLst>
                  <a:ext uri="{FF2B5EF4-FFF2-40B4-BE49-F238E27FC236}">
                    <a16:creationId xmlns:a16="http://schemas.microsoft.com/office/drawing/2014/main" id="{13E90BA5-7852-4BC3-A7C6-1D57B4B4776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Guidance note">
            <a:extLst>
              <a:ext uri="{FF2B5EF4-FFF2-40B4-BE49-F238E27FC236}">
                <a16:creationId xmlns:a16="http://schemas.microsoft.com/office/drawing/2014/main" id="{395CA386-D2EE-45ED-B3EB-20DC32FFECC9}"/>
              </a:ext>
            </a:extLst>
          </p:cNvPr>
          <p:cNvSpPr/>
          <p:nvPr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284766127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91E4EDE-F73E-4D47-BE09-9DA6C99359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endParaRPr lang="en-US"/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/>
        </p:nvSpPr>
        <p:spPr>
          <a:xfrm>
            <a:off x="12275233" y="1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1525971211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5686ABA-38C8-2D48-975D-30FC67750FD7}"/>
              </a:ext>
            </a:extLst>
          </p:cNvPr>
          <p:cNvSpPr/>
          <p:nvPr/>
        </p:nvSpPr>
        <p:spPr bwMode="auto">
          <a:xfrm>
            <a:off x="6227763" y="0"/>
            <a:ext cx="5964237" cy="6858000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US" sz="18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7"/>
            <a:ext cx="5437026" cy="25029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A62F82BF-1E68-D14F-80C2-274D670A6789}"/>
              </a:ext>
            </a:extLst>
          </p:cNvPr>
          <p:cNvSpPr/>
          <p:nvPr/>
        </p:nvSpPr>
        <p:spPr bwMode="auto">
          <a:xfrm>
            <a:off x="0" y="-12668"/>
            <a:ext cx="111211" cy="6877307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US" sz="18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11" name="Triangle 1">
            <a:extLst>
              <a:ext uri="{FF2B5EF4-FFF2-40B4-BE49-F238E27FC236}">
                <a16:creationId xmlns:a16="http://schemas.microsoft.com/office/drawing/2014/main" id="{FC0030F1-98A4-4EDD-A32C-B3FF6C3850F3}"/>
              </a:ext>
            </a:extLst>
          </p:cNvPr>
          <p:cNvSpPr/>
          <p:nvPr/>
        </p:nvSpPr>
        <p:spPr bwMode="auto">
          <a:xfrm rot="5400000">
            <a:off x="-30006" y="485265"/>
            <a:ext cx="527233" cy="270233"/>
          </a:xfrm>
          <a:prstGeom prst="triangl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26366074"/>
      </p:ext>
    </p:extLst>
  </p:cSld>
  <p:clrMapOvr>
    <a:masterClrMapping/>
  </p:clrMapOvr>
  <p:transition>
    <p:fade/>
  </p:transition>
  <p:hf sldNum="0" hd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rt Placeholder 5"/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73914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AF0A20-4521-4105-B244-E4D7D8DC46D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8"/>
            <a:ext cx="3456000" cy="2872325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F3D2E9-D3DF-4073-8942-F51EDC9F9B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B8E8D2DA-923C-46FD-AE23-D8997A885C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endParaRPr lang="en-US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54C5F39-EE55-4150-AE38-A7A999F3BA25}"/>
              </a:ext>
            </a:extLst>
          </p:cNvPr>
          <p:cNvGrpSpPr/>
          <p:nvPr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5" name="Guidance note">
              <a:extLst>
                <a:ext uri="{FF2B5EF4-FFF2-40B4-BE49-F238E27FC236}">
                  <a16:creationId xmlns:a16="http://schemas.microsoft.com/office/drawing/2014/main" id="{025D7FB3-CF69-4E08-8922-003EB4E3975F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528045C4-A569-4BC0-A2C6-680DA682611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7" name="Picture 3">
                <a:extLst>
                  <a:ext uri="{FF2B5EF4-FFF2-40B4-BE49-F238E27FC236}">
                    <a16:creationId xmlns:a16="http://schemas.microsoft.com/office/drawing/2014/main" id="{0FD70A2C-539C-4A23-AF36-00B08ACFA1A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20">
                <a:extLst>
                  <a:ext uri="{FF2B5EF4-FFF2-40B4-BE49-F238E27FC236}">
                    <a16:creationId xmlns:a16="http://schemas.microsoft.com/office/drawing/2014/main" id="{A36B5CC0-766A-45B5-97A8-7C56DFCFC8EE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9" name="Guidance note">
            <a:extLst>
              <a:ext uri="{FF2B5EF4-FFF2-40B4-BE49-F238E27FC236}">
                <a16:creationId xmlns:a16="http://schemas.microsoft.com/office/drawing/2014/main" id="{9FC3F62A-60AD-47BF-8C6C-EA4FD3505A95}"/>
              </a:ext>
            </a:extLst>
          </p:cNvPr>
          <p:cNvSpPr/>
          <p:nvPr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296270549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V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5B49068-D080-4ACE-BA89-F101FF74DD6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8"/>
            <a:ext cx="3456000" cy="2872325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A230DD3F-5BD6-47DB-88DD-B17645228A0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8"/>
            <a:ext cx="3456000" cy="2872325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5F1110-D46C-45FE-84D5-25150A01F2E3}"/>
              </a:ext>
            </a:extLst>
          </p:cNvPr>
          <p:cNvCxnSpPr>
            <a:cxnSpLocks/>
          </p:cNvCxnSpPr>
          <p:nvPr/>
        </p:nvCxnSpPr>
        <p:spPr>
          <a:xfrm>
            <a:off x="431800" y="2957420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544F918-5B29-4CA8-B698-287CEE5C612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1801" y="1416000"/>
            <a:ext cx="1325715" cy="14400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C926757-B24B-4CFA-A750-5FFEEEF69A8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3081529"/>
            <a:ext cx="3456517" cy="146719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867"/>
            </a:lvl1pPr>
            <a:lvl2pPr>
              <a:spcBef>
                <a:spcPts val="0"/>
              </a:spcBef>
              <a:spcAft>
                <a:spcPts val="267"/>
              </a:spcAft>
              <a:defRPr sz="18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6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6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341570-0A8C-4A6D-9F75-3FF3D83330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65364470-3814-46DA-81B6-9B6ABEDC8B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endParaRPr lang="en-US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E9C2C4D-4ACC-4F73-A4B9-04807E3ACA87}"/>
              </a:ext>
            </a:extLst>
          </p:cNvPr>
          <p:cNvGrpSpPr/>
          <p:nvPr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9" name="Guidance note">
              <a:extLst>
                <a:ext uri="{FF2B5EF4-FFF2-40B4-BE49-F238E27FC236}">
                  <a16:creationId xmlns:a16="http://schemas.microsoft.com/office/drawing/2014/main" id="{E9DBA4A0-469B-42D9-A384-66D0F7F5CF1C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4F513AB0-B464-432C-96F6-C01AE1AD896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1" name="Picture 3">
                <a:extLst>
                  <a:ext uri="{FF2B5EF4-FFF2-40B4-BE49-F238E27FC236}">
                    <a16:creationId xmlns:a16="http://schemas.microsoft.com/office/drawing/2014/main" id="{69D17DA6-BCD4-4046-9D31-CF5D433902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ounded Rectangle 20">
                <a:extLst>
                  <a:ext uri="{FF2B5EF4-FFF2-40B4-BE49-F238E27FC236}">
                    <a16:creationId xmlns:a16="http://schemas.microsoft.com/office/drawing/2014/main" id="{8B82DBD2-6FB6-4465-9E2D-6DA528C0AEC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Round Diagonal Corner Rectangle 4">
            <a:extLst>
              <a:ext uri="{FF2B5EF4-FFF2-40B4-BE49-F238E27FC236}">
                <a16:creationId xmlns:a16="http://schemas.microsoft.com/office/drawing/2014/main" id="{CCFF34D1-F27E-4737-B8CF-F9385F2D624E}"/>
              </a:ext>
            </a:extLst>
          </p:cNvPr>
          <p:cNvSpPr/>
          <p:nvPr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05156644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V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8B2B09D-D81C-4260-912F-CB531B07FB99}"/>
              </a:ext>
            </a:extLst>
          </p:cNvPr>
          <p:cNvCxnSpPr>
            <a:cxnSpLocks/>
          </p:cNvCxnSpPr>
          <p:nvPr/>
        </p:nvCxnSpPr>
        <p:spPr>
          <a:xfrm>
            <a:off x="431800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A143F75-F1B4-412B-A3E2-850CC3D2A5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988D91BD-83E2-4D8E-A9D9-FB230B58F4C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1802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C82E8DE-D700-4FDB-B492-FBBE73708601}"/>
              </a:ext>
            </a:extLst>
          </p:cNvPr>
          <p:cNvCxnSpPr>
            <a:cxnSpLocks/>
          </p:cNvCxnSpPr>
          <p:nvPr/>
        </p:nvCxnSpPr>
        <p:spPr>
          <a:xfrm>
            <a:off x="4368800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A797DDDD-D10E-4826-9799-F77851FA3A1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68800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BE7E812B-C0C2-4E15-A5E1-88C87117715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368802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5E4984C-A870-48D7-A38E-4D226B28CF21}"/>
              </a:ext>
            </a:extLst>
          </p:cNvPr>
          <p:cNvCxnSpPr>
            <a:cxnSpLocks/>
          </p:cNvCxnSpPr>
          <p:nvPr/>
        </p:nvCxnSpPr>
        <p:spPr>
          <a:xfrm>
            <a:off x="8303683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D3ACC50D-43D4-45A0-975F-9B408E6BD14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303683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B3C3C8F3-419D-4EF9-BB29-AE7F1F1732D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303685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BB4D65-DB5D-4395-AECD-E4A4DD1DC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BD674DDD-BACE-4633-A51D-B34FB33EEC8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638300" y="1416001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901DDDCC-04BF-4981-893E-E22AFEDF5AC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575300" y="1416001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F15142A3-375C-45DF-AF42-2245E24CD46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512300" y="1416001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7" name="Footer Placeholder 2">
            <a:extLst>
              <a:ext uri="{FF2B5EF4-FFF2-40B4-BE49-F238E27FC236}">
                <a16:creationId xmlns:a16="http://schemas.microsoft.com/office/drawing/2014/main" id="{45A0E1D1-8595-4E45-A401-A475018540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endParaRPr lang="en-US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B815125D-7568-4091-BEEB-35B82C7A282E}"/>
              </a:ext>
            </a:extLst>
          </p:cNvPr>
          <p:cNvGrpSpPr/>
          <p:nvPr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44" name="Guidance note">
              <a:extLst>
                <a:ext uri="{FF2B5EF4-FFF2-40B4-BE49-F238E27FC236}">
                  <a16:creationId xmlns:a16="http://schemas.microsoft.com/office/drawing/2014/main" id="{05DADCA8-9F14-4D3E-AEA6-3968A4B99D52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35567F3E-A867-493E-9CDF-6C283ED69FB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46" name="Picture 3">
                <a:extLst>
                  <a:ext uri="{FF2B5EF4-FFF2-40B4-BE49-F238E27FC236}">
                    <a16:creationId xmlns:a16="http://schemas.microsoft.com/office/drawing/2014/main" id="{EF71D8E4-9AAD-42D4-BB7D-BD4FF105C45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7" name="Rounded Rectangle 20">
                <a:extLst>
                  <a:ext uri="{FF2B5EF4-FFF2-40B4-BE49-F238E27FC236}">
                    <a16:creationId xmlns:a16="http://schemas.microsoft.com/office/drawing/2014/main" id="{F43BCCBD-E91E-4385-9D1C-933F4A1EFF49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48" name="Round Diagonal Corner Rectangle 4">
            <a:extLst>
              <a:ext uri="{FF2B5EF4-FFF2-40B4-BE49-F238E27FC236}">
                <a16:creationId xmlns:a16="http://schemas.microsoft.com/office/drawing/2014/main" id="{DCC9EC93-F46B-4A7B-8A65-57D85F810085}"/>
              </a:ext>
            </a:extLst>
          </p:cNvPr>
          <p:cNvSpPr/>
          <p:nvPr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743285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4984479-1823-4BDB-AAA8-6F7D67888FD9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1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8BD2EEFA-8252-4979-8B48-D13EEB8A4E19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endParaRPr lang="en-GB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4A49F27C-7E3B-4D20-B431-E1FC318DDF6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  <p:sp>
        <p:nvSpPr>
          <p:cNvPr id="10" name="Round Diagonal Corner Rectangle 4">
            <a:extLst>
              <a:ext uri="{FF2B5EF4-FFF2-40B4-BE49-F238E27FC236}">
                <a16:creationId xmlns:a16="http://schemas.microsoft.com/office/drawing/2014/main" id="{16DC8360-D4F7-405A-BF06-04DDCFD5DEFE}"/>
              </a:ext>
            </a:extLst>
          </p:cNvPr>
          <p:cNvSpPr/>
          <p:nvPr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8317289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UFS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5/18/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F88F72A-D010-D4AE-A124-5A7F314A691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105"/>
            <a:ext cx="12199307" cy="6853895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3F1134AE-BE13-832A-5269-E714558D0FB6}"/>
              </a:ext>
            </a:extLst>
          </p:cNvPr>
          <p:cNvPicPr>
            <a:picLocks noChangeAspect="1"/>
          </p:cNvPicPr>
          <p:nvPr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6642"/>
            <a:ext cx="1881099" cy="386649"/>
          </a:xfrm>
          <a:prstGeom prst="rect">
            <a:avLst/>
          </a:prstGeom>
        </p:spPr>
      </p:pic>
      <p:pic>
        <p:nvPicPr>
          <p:cNvPr id="9" name="Picture 8" descr="A red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F608C6BC-7624-423A-9081-A5299D1914D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2200" y="4953235"/>
            <a:ext cx="1548000" cy="1548000"/>
          </a:xfrm>
          <a:prstGeom prst="rect">
            <a:avLst/>
          </a:prstGeom>
        </p:spPr>
      </p:pic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A8C7993D-14D6-43E1-8029-B231622D16C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2361" y="2169252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8749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model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18672" y="2870634"/>
            <a:ext cx="5932223" cy="711081"/>
          </a:xfrm>
        </p:spPr>
        <p:txBody>
          <a:bodyPr>
            <a:normAutofit/>
          </a:bodyPr>
          <a:lstStyle>
            <a:lvl1pPr algn="ctr">
              <a:defRPr sz="36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/>
              <a:t>SlideModel.com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5/18/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7601" y="6356352"/>
            <a:ext cx="2844800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6489018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74865FF-0DD7-F3E0-5176-FCD399F0287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>
              <a:defRPr sz="3200" b="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753794B-96ED-B50F-666C-2F32C38CC7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29899" y="2484302"/>
            <a:ext cx="8548683" cy="1896979"/>
          </a:xfrm>
        </p:spPr>
        <p:txBody>
          <a:bodyPr anchor="b">
            <a:normAutofit/>
          </a:bodyPr>
          <a:lstStyle>
            <a:lvl1pPr marL="0" indent="0">
              <a:lnSpc>
                <a:spcPts val="7620"/>
              </a:lnSpc>
              <a:buNone/>
              <a:defRPr sz="8600" b="1" spc="-231" baseline="0">
                <a:solidFill>
                  <a:schemeClr val="bg1"/>
                </a:solidFill>
              </a:defRPr>
            </a:lvl1pPr>
          </a:lstStyle>
          <a:p>
            <a:pPr lvl="0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EFD887F-53DF-BEFF-6326-6B60885369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9899" y="1540773"/>
            <a:ext cx="2021404" cy="440603"/>
          </a:xfrm>
          <a:prstGeom prst="rect">
            <a:avLst/>
          </a:prstGeom>
        </p:spPr>
      </p:pic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5C292A34-6ACF-2243-F619-3AD543653D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29899" y="4405745"/>
            <a:ext cx="8548683" cy="911483"/>
          </a:xfrm>
        </p:spPr>
        <p:txBody>
          <a:bodyPr tIns="0" anchor="t">
            <a:noAutofit/>
          </a:bodyPr>
          <a:lstStyle>
            <a:lvl1pPr marL="0" indent="0">
              <a:lnSpc>
                <a:spcPts val="3520"/>
              </a:lnSpc>
              <a:buNone/>
              <a:defRPr sz="3200" b="0" spc="-80" baseline="0">
                <a:solidFill>
                  <a:schemeClr val="bg1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879823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085C1617-DE62-A374-5809-D15BED988DE7}"/>
              </a:ext>
            </a:extLst>
          </p:cNvPr>
          <p:cNvSpPr/>
          <p:nvPr/>
        </p:nvSpPr>
        <p:spPr bwMode="white">
          <a:xfrm>
            <a:off x="2" y="-1"/>
            <a:ext cx="12192001" cy="685800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400"/>
              </a:spcBef>
              <a:spcAft>
                <a:spcPts val="400"/>
              </a:spcAft>
            </a:pPr>
            <a:endParaRPr lang="en-GB" sz="2133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EA1B177-200A-C9D1-37C6-C392559C3D8C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7480" t="27066" r="32612"/>
          <a:stretch/>
        </p:blipFill>
        <p:spPr bwMode="ltGray">
          <a:xfrm rot="16200000" flipV="1">
            <a:off x="6262073" y="928074"/>
            <a:ext cx="6858000" cy="5001855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4A528635-0911-3E5C-8669-A3DCEE15E34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 bwMode="invGray">
          <a:xfrm>
            <a:off x="550801" y="6178549"/>
            <a:ext cx="1881099" cy="386768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47688" y="4899733"/>
            <a:ext cx="6231814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buClr>
                <a:schemeClr val="tx2"/>
              </a:buClr>
              <a:defRPr lang="en-US" sz="1400" dirty="0">
                <a:solidFill>
                  <a:schemeClr val="tx2"/>
                </a:solidFill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47688" y="4092561"/>
            <a:ext cx="6231814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buClr>
                <a:schemeClr val="tx2"/>
              </a:buClr>
              <a:defRPr lang="en-US" sz="2000" dirty="0">
                <a:solidFill>
                  <a:schemeClr val="tx2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47688" y="1543982"/>
            <a:ext cx="6231814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rmAutofit/>
          </a:bodyPr>
          <a:lstStyle>
            <a:lvl1pPr>
              <a:buClr>
                <a:schemeClr val="tx2"/>
              </a:buClr>
              <a:defRPr lang="en-US" sz="440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9457022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5" y="717162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840512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49244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6478328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lin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9" name="Sticker" hidden="1">
            <a:extLst>
              <a:ext uri="{FF2B5EF4-FFF2-40B4-BE49-F238E27FC236}">
                <a16:creationId xmlns:a16="http://schemas.microsoft.com/office/drawing/2014/main" id="{64F3132B-1605-45D5-B06F-B703D774997D}"/>
              </a:ext>
            </a:extLst>
          </p:cNvPr>
          <p:cNvSpPr txBox="1"/>
          <p:nvPr/>
        </p:nvSpPr>
        <p:spPr bwMode="gray">
          <a:xfrm>
            <a:off x="558489" y="1675180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 rtl="0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800" b="1" cap="all" baseline="0"/>
              <a:t>STICKER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 bwMode="gray">
          <a:xfrm>
            <a:off x="554736" y="1209604"/>
            <a:ext cx="11082528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1840512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 bwMode="gray"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 bwMode="gray">
          <a:xfrm>
            <a:off x="554736" y="172212"/>
            <a:ext cx="11082528" cy="98488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75132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7"/>
            <a:ext cx="11329826" cy="25029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A62F82BF-1E68-D14F-80C2-274D670A6789}"/>
              </a:ext>
            </a:extLst>
          </p:cNvPr>
          <p:cNvSpPr/>
          <p:nvPr/>
        </p:nvSpPr>
        <p:spPr bwMode="auto">
          <a:xfrm>
            <a:off x="0" y="-12668"/>
            <a:ext cx="111211" cy="6877307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US" sz="18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10" name="Triangle 1">
            <a:extLst>
              <a:ext uri="{FF2B5EF4-FFF2-40B4-BE49-F238E27FC236}">
                <a16:creationId xmlns:a16="http://schemas.microsoft.com/office/drawing/2014/main" id="{254AFB18-86DF-49CA-BDA6-C269C80B3ADB}"/>
              </a:ext>
            </a:extLst>
          </p:cNvPr>
          <p:cNvSpPr/>
          <p:nvPr/>
        </p:nvSpPr>
        <p:spPr bwMode="auto">
          <a:xfrm rot="5400000">
            <a:off x="-30006" y="485265"/>
            <a:ext cx="527233" cy="270233"/>
          </a:xfrm>
          <a:prstGeom prst="triangle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95641523"/>
      </p:ext>
    </p:extLst>
  </p:cSld>
  <p:clrMapOvr>
    <a:masterClrMapping/>
  </p:clrMapOvr>
  <p:transition>
    <p:fade/>
  </p:transition>
  <p:hf sldNum="0" hdr="0" dt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66900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840512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3582A97-508D-2CE4-50F7-80196065FDD7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7480" t="27066" r="32612"/>
          <a:stretch/>
        </p:blipFill>
        <p:spPr bwMode="ltGray">
          <a:xfrm flipH="1" flipV="1">
            <a:off x="0" y="3315945"/>
            <a:ext cx="4856480" cy="3542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9803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840512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88648687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129E4A55-D3CC-6125-C2BA-984ECEBF0E50}"/>
              </a:ext>
            </a:extLst>
          </p:cNvPr>
          <p:cNvSpPr/>
          <p:nvPr/>
        </p:nvSpPr>
        <p:spPr bwMode="white">
          <a:xfrm>
            <a:off x="2" y="-1"/>
            <a:ext cx="12192001" cy="685800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400"/>
              </a:spcBef>
              <a:spcAft>
                <a:spcPts val="400"/>
              </a:spcAft>
            </a:pPr>
            <a:endParaRPr lang="en-GB" sz="2133">
              <a:solidFill>
                <a:schemeClr val="bg1"/>
              </a:solidFill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1E074DB2-9F83-E975-74E5-0A93C9A9A9E7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 bwMode="invGray">
          <a:xfrm>
            <a:off x="554736" y="6178549"/>
            <a:ext cx="1881099" cy="386768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180168"/>
            <a:ext cx="4957064" cy="677108"/>
          </a:xfr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buClr>
                <a:schemeClr val="tx2"/>
              </a:buClr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/>
            </a:pPr>
            <a:fld id="{4ABDCABE-3F10-B64C-92F1-862014417034}" type="slidenum">
              <a:rPr lang="en-US" sz="900" b="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defRPr/>
              </a:pPr>
              <a:t>‹#›</a:t>
            </a:fld>
            <a:endParaRPr lang="en-US" sz="900" b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840512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buClr>
                <a:schemeClr val="tx2"/>
              </a:buCl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20D4A5E-F16A-3E3B-2035-54765D3E8752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r="23305" b="53486"/>
          <a:stretch/>
        </p:blipFill>
        <p:spPr bwMode="ltGray">
          <a:xfrm>
            <a:off x="5989047" y="2857276"/>
            <a:ext cx="6202955" cy="4000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070679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840512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558627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D5DB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54"/>
            <a:endParaRPr lang="en-US" sz="135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840512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BD1E8CEA-59CA-420E-955C-4C9FBA24773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2744369"/>
            <a:ext cx="2514600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CCF5000-7DC2-158F-6932-23BF8B7E5189}"/>
              </a:ext>
            </a:extLst>
          </p:cNvPr>
          <p:cNvSpPr txBox="1">
            <a:spLocks/>
          </p:cNvSpPr>
          <p:nvPr/>
        </p:nvSpPr>
        <p:spPr>
          <a:xfrm>
            <a:off x="554736" y="6421809"/>
            <a:ext cx="1173398" cy="215444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 rtl="0">
              <a:buClr>
                <a:schemeClr val="tx1"/>
              </a:buClr>
              <a:tabLst>
                <a:tab pos="989013" algn="l"/>
              </a:tabLst>
            </a:pPr>
            <a:r>
              <a:rPr lang="en-US" sz="1400" b="1">
                <a:solidFill>
                  <a:schemeClr val="tx1"/>
                </a:solidFill>
              </a:rPr>
              <a:t>National Grid </a:t>
            </a:r>
          </a:p>
        </p:txBody>
      </p:sp>
    </p:spTree>
    <p:extLst>
      <p:ext uri="{BB962C8B-B14F-4D97-AF65-F5344CB8AC3E}">
        <p14:creationId xmlns:p14="http://schemas.microsoft.com/office/powerpoint/2010/main" val="386144276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D5DB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54"/>
            <a:endParaRPr lang="en-US" sz="135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840512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B064DA18-FA54-43C0-B981-F306F40179F4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2744369"/>
            <a:ext cx="3465574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536D423-3BF3-2280-A117-2E216541A8A8}"/>
              </a:ext>
            </a:extLst>
          </p:cNvPr>
          <p:cNvSpPr txBox="1">
            <a:spLocks/>
          </p:cNvSpPr>
          <p:nvPr/>
        </p:nvSpPr>
        <p:spPr>
          <a:xfrm>
            <a:off x="554736" y="6421809"/>
            <a:ext cx="1173398" cy="215444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 rtl="0">
              <a:buClr>
                <a:schemeClr val="tx1"/>
              </a:buClr>
              <a:tabLst>
                <a:tab pos="989013" algn="l"/>
              </a:tabLst>
            </a:pPr>
            <a:r>
              <a:rPr lang="en-US" sz="1400" b="1">
                <a:solidFill>
                  <a:schemeClr val="tx1"/>
                </a:solidFill>
              </a:rPr>
              <a:t>National Grid </a:t>
            </a:r>
          </a:p>
        </p:txBody>
      </p:sp>
    </p:spTree>
    <p:extLst>
      <p:ext uri="{BB962C8B-B14F-4D97-AF65-F5344CB8AC3E}">
        <p14:creationId xmlns:p14="http://schemas.microsoft.com/office/powerpoint/2010/main" val="414183126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D5DB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54"/>
            <a:endParaRPr lang="en-US" sz="135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984885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717162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840512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383E30C-C05D-75A4-A945-DC9172A03BA7}"/>
              </a:ext>
            </a:extLst>
          </p:cNvPr>
          <p:cNvSpPr txBox="1">
            <a:spLocks/>
          </p:cNvSpPr>
          <p:nvPr/>
        </p:nvSpPr>
        <p:spPr>
          <a:xfrm>
            <a:off x="554736" y="6421809"/>
            <a:ext cx="1173398" cy="215444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 rtl="0">
              <a:buClr>
                <a:schemeClr val="tx1"/>
              </a:buClr>
              <a:tabLst>
                <a:tab pos="989013" algn="l"/>
              </a:tabLst>
            </a:pPr>
            <a:r>
              <a:rPr lang="en-US" sz="1400" b="1">
                <a:solidFill>
                  <a:schemeClr val="tx1"/>
                </a:solidFill>
              </a:rPr>
              <a:t>National Grid </a:t>
            </a:r>
          </a:p>
        </p:txBody>
      </p:sp>
    </p:spTree>
    <p:extLst>
      <p:ext uri="{BB962C8B-B14F-4D97-AF65-F5344CB8AC3E}">
        <p14:creationId xmlns:p14="http://schemas.microsoft.com/office/powerpoint/2010/main" val="171139419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492443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D5DB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54"/>
            <a:endParaRPr lang="en-US" sz="1351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717162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840512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AE991-AF4A-497A-ABBE-B0C738830305}"/>
              </a:ext>
            </a:extLst>
          </p:cNvPr>
          <p:cNvSpPr txBox="1">
            <a:spLocks/>
          </p:cNvSpPr>
          <p:nvPr/>
        </p:nvSpPr>
        <p:spPr>
          <a:xfrm>
            <a:off x="554736" y="6421809"/>
            <a:ext cx="1173398" cy="215444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 rtl="0">
              <a:buClr>
                <a:schemeClr val="tx1"/>
              </a:buClr>
              <a:tabLst>
                <a:tab pos="989013" algn="l"/>
              </a:tabLst>
            </a:pPr>
            <a:r>
              <a:rPr lang="en-US" sz="1400" b="1">
                <a:solidFill>
                  <a:schemeClr val="tx1"/>
                </a:solidFill>
              </a:rPr>
              <a:t>National Grid </a:t>
            </a:r>
          </a:p>
        </p:txBody>
      </p:sp>
    </p:spTree>
    <p:extLst>
      <p:ext uri="{BB962C8B-B14F-4D97-AF65-F5344CB8AC3E}">
        <p14:creationId xmlns:p14="http://schemas.microsoft.com/office/powerpoint/2010/main" val="391434444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D5DB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54"/>
            <a:endParaRPr lang="en-US" sz="1351" noProof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492443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717162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840512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0693E15-E298-CF50-311F-5A7B82BF3AE0}"/>
              </a:ext>
            </a:extLst>
          </p:cNvPr>
          <p:cNvSpPr txBox="1">
            <a:spLocks/>
          </p:cNvSpPr>
          <p:nvPr/>
        </p:nvSpPr>
        <p:spPr>
          <a:xfrm>
            <a:off x="554736" y="6421809"/>
            <a:ext cx="1173398" cy="215444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 rtl="0">
              <a:buClr>
                <a:schemeClr val="tx1"/>
              </a:buClr>
              <a:tabLst>
                <a:tab pos="989013" algn="l"/>
              </a:tabLst>
            </a:pPr>
            <a:r>
              <a:rPr lang="en-US" sz="1400" b="1">
                <a:solidFill>
                  <a:schemeClr val="tx1"/>
                </a:solidFill>
              </a:rPr>
              <a:t>National Grid </a:t>
            </a:r>
          </a:p>
        </p:txBody>
      </p:sp>
    </p:spTree>
    <p:extLst>
      <p:ext uri="{BB962C8B-B14F-4D97-AF65-F5344CB8AC3E}">
        <p14:creationId xmlns:p14="http://schemas.microsoft.com/office/powerpoint/2010/main" val="76469242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554736" y="172212"/>
            <a:ext cx="11082528" cy="1477328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840512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Sticker" hidden="1">
            <a:extLst>
              <a:ext uri="{FF2B5EF4-FFF2-40B4-BE49-F238E27FC236}">
                <a16:creationId xmlns:a16="http://schemas.microsoft.com/office/drawing/2014/main" id="{2B5F1846-DB86-4338-8AFA-F2C1B534B900}"/>
              </a:ext>
            </a:extLst>
          </p:cNvPr>
          <p:cNvSpPr txBox="1"/>
          <p:nvPr/>
        </p:nvSpPr>
        <p:spPr>
          <a:xfrm>
            <a:off x="558489" y="1675180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 rtl="0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800" b="1" cap="all" baseline="0"/>
              <a:t>STICKER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A36019FE-0FBF-F234-8BA0-0A4A9DE2D5F9}"/>
              </a:ext>
            </a:extLst>
          </p:cNvPr>
          <p:cNvSpPr txBox="1">
            <a:spLocks/>
          </p:cNvSpPr>
          <p:nvPr/>
        </p:nvSpPr>
        <p:spPr>
          <a:xfrm>
            <a:off x="554736" y="6421809"/>
            <a:ext cx="1173398" cy="215444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 rtl="0">
              <a:buClr>
                <a:schemeClr val="tx1"/>
              </a:buClr>
              <a:tabLst>
                <a:tab pos="989013" algn="l"/>
              </a:tabLst>
            </a:pPr>
            <a:r>
              <a:rPr lang="en-US" sz="1400" b="1">
                <a:solidFill>
                  <a:schemeClr val="tx1"/>
                </a:solidFill>
              </a:rPr>
              <a:t>National Grid </a:t>
            </a:r>
          </a:p>
        </p:txBody>
      </p:sp>
    </p:spTree>
    <p:extLst>
      <p:ext uri="{BB962C8B-B14F-4D97-AF65-F5344CB8AC3E}">
        <p14:creationId xmlns:p14="http://schemas.microsoft.com/office/powerpoint/2010/main" val="28532117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B30573E-C730-BD4E-B338-AD3BD6E28DF1}"/>
              </a:ext>
            </a:extLst>
          </p:cNvPr>
          <p:cNvSpPr/>
          <p:nvPr/>
        </p:nvSpPr>
        <p:spPr bwMode="auto">
          <a:xfrm>
            <a:off x="6227763" y="0"/>
            <a:ext cx="5964237" cy="6858000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US" sz="18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7"/>
            <a:ext cx="5437026" cy="25029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A62F82BF-1E68-D14F-80C2-274D670A6789}"/>
              </a:ext>
            </a:extLst>
          </p:cNvPr>
          <p:cNvSpPr/>
          <p:nvPr/>
        </p:nvSpPr>
        <p:spPr bwMode="auto">
          <a:xfrm>
            <a:off x="0" y="-12668"/>
            <a:ext cx="111211" cy="6877307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US" sz="18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11" name="Triangle 1">
            <a:extLst>
              <a:ext uri="{FF2B5EF4-FFF2-40B4-BE49-F238E27FC236}">
                <a16:creationId xmlns:a16="http://schemas.microsoft.com/office/drawing/2014/main" id="{F05C568B-79BF-45AE-A3AB-B667CDF32317}"/>
              </a:ext>
            </a:extLst>
          </p:cNvPr>
          <p:cNvSpPr/>
          <p:nvPr/>
        </p:nvSpPr>
        <p:spPr bwMode="auto">
          <a:xfrm rot="5400000">
            <a:off x="-30006" y="485265"/>
            <a:ext cx="527233" cy="270233"/>
          </a:xfrm>
          <a:prstGeom prst="triangle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2226713"/>
      </p:ext>
    </p:extLst>
  </p:cSld>
  <p:clrMapOvr>
    <a:masterClrMapping/>
  </p:clrMapOvr>
  <p:transition>
    <p:fade/>
  </p:transition>
  <p:hf sldNum="0" hdr="0" dt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840512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00D85730-B01F-7BFD-C7B5-1C3B23B7D317}"/>
              </a:ext>
            </a:extLst>
          </p:cNvPr>
          <p:cNvSpPr txBox="1">
            <a:spLocks/>
          </p:cNvSpPr>
          <p:nvPr/>
        </p:nvSpPr>
        <p:spPr>
          <a:xfrm>
            <a:off x="554736" y="6421809"/>
            <a:ext cx="1173398" cy="215444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 rtl="0">
              <a:buClr>
                <a:schemeClr val="tx1"/>
              </a:buClr>
              <a:tabLst>
                <a:tab pos="989013" algn="l"/>
              </a:tabLst>
            </a:pPr>
            <a:r>
              <a:rPr lang="en-US" sz="1400" b="1">
                <a:solidFill>
                  <a:schemeClr val="tx1"/>
                </a:solidFill>
              </a:rPr>
              <a:t>National Grid </a:t>
            </a:r>
          </a:p>
        </p:txBody>
      </p:sp>
    </p:spTree>
    <p:extLst>
      <p:ext uri="{BB962C8B-B14F-4D97-AF65-F5344CB8AC3E}">
        <p14:creationId xmlns:p14="http://schemas.microsoft.com/office/powerpoint/2010/main" val="89916380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36E20EF-0AD5-F3D4-C330-9DB13D24A204}"/>
              </a:ext>
            </a:extLst>
          </p:cNvPr>
          <p:cNvGrpSpPr/>
          <p:nvPr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  <a:solidFill>
            <a:schemeClr val="accent1"/>
          </a:solidFill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C065DE27-C252-EFBA-D42E-E1CA037CDB00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sz="2400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E5A31A8E-8420-2D4C-D311-0D34C04D75B7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sz="240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954545BE-AA00-07B3-CD44-36BBEAA6D762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sz="240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6AAA20A1-3586-038B-DF7B-CF519F29F5BF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sz="240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2747D26B-392F-0AA1-A48E-59FD1C73485B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sz="240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E4F6C95-1D7E-E1FE-77CA-38EA1F3286A8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sz="240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028E027-410D-1881-BC67-E122DCDA81D5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sz="240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5DE7B165-7FBA-8224-E3FA-862613DF2590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sz="240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17B0CE79-BFF7-A1F4-C9BE-ABDED8D1CD71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sz="24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B7DCFCE-FEF6-C42F-C848-4BAD0788864D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sz="24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1682442-2C9A-FBB6-719E-8572B6883586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sz="24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F387C3E1-8C2A-658B-6543-D466152C3753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sz="24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B7B059-CDF1-52FD-EEDD-458FBED6AFC3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sz="24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C15D33D-800B-27DC-2186-979C2C3E3134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sz="24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19617C27-0ED9-20DA-9C35-904250E2C508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sz="24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248C86A-DC2C-516B-D914-FC66DF17FE9B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sz="24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665820D6-5DEA-4C6E-B0F2-E1D2EA3BC351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sz="24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BC62644C-3B8A-7A84-7F6D-34F48FE10E33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sz="24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212345F2-8B9C-776B-A91A-C611C0A8E17C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66199784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CC59B9-56A5-4B17-1152-18D306CFD4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95C9C88-94CF-AE54-E9A0-6D47402F43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B02D78-DA63-4217-A0CC-E4B6859A2157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7FC78F-5464-4389-5F79-9AFE3CD2C0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04A79E-955E-C8BF-8A7E-4D22D5D62D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4AC435-9D53-41B8-9AA9-79466AB676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31453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7"/>
            <a:ext cx="11329826" cy="25029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65783196"/>
      </p:ext>
    </p:extLst>
  </p:cSld>
  <p:clrMapOvr>
    <a:masterClrMapping/>
  </p:clrMapOvr>
  <p:transition>
    <p:fade/>
  </p:transition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69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theme" Target="../theme/theme2.xml"/><Relationship Id="rId25" Type="http://schemas.openxmlformats.org/officeDocument/2006/relationships/image" Target="../media/image33.emf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1.xml"/><Relationship Id="rId23" Type="http://schemas.openxmlformats.org/officeDocument/2006/relationships/tags" Target="../tags/tag6.xml"/><Relationship Id="rId10" Type="http://schemas.openxmlformats.org/officeDocument/2006/relationships/slideLayout" Target="../slideLayouts/slideLayout76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Relationship Id="rId22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148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5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4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Heading 1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0" y="6320502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46451" y="6320502"/>
            <a:ext cx="959388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4" y="6320501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51" algn="l"/>
              </a:tabLst>
            </a:pPr>
            <a:r>
              <a:rPr lang="en-GB" sz="1467" b="1"/>
              <a:t>National Grid </a:t>
            </a:r>
          </a:p>
        </p:txBody>
      </p:sp>
    </p:spTree>
    <p:extLst>
      <p:ext uri="{BB962C8B-B14F-4D97-AF65-F5344CB8AC3E}">
        <p14:creationId xmlns:p14="http://schemas.microsoft.com/office/powerpoint/2010/main" val="21415261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  <p:sldLayoutId id="2147483726" r:id="rId66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4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8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43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7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91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2767">
          <p15:clr>
            <a:srgbClr val="F26B43"/>
          </p15:clr>
        </p15:guide>
        <p15:guide id="4" pos="5556">
          <p15:clr>
            <a:srgbClr val="F26B43"/>
          </p15:clr>
        </p15:guide>
        <p15:guide id="6" orient="horz" pos="2845">
          <p15:clr>
            <a:srgbClr val="F26B43"/>
          </p15:clr>
        </p15:guide>
        <p15:guide id="8" pos="204">
          <p15:clr>
            <a:srgbClr val="F26B43"/>
          </p15:clr>
        </p15:guide>
        <p15:guide id="13" pos="2993">
          <p15:clr>
            <a:srgbClr val="F26B43"/>
          </p15:clr>
        </p15:guide>
        <p15:guide id="14" orient="horz" pos="350">
          <p15:clr>
            <a:srgbClr val="F26B43"/>
          </p15:clr>
        </p15:guide>
        <p15:guide id="15" orient="horz" pos="667">
          <p15:clr>
            <a:srgbClr val="F26B43"/>
          </p15:clr>
        </p15:guide>
        <p15:guide id="16" pos="2064">
          <p15:clr>
            <a:srgbClr val="F26B43"/>
          </p15:clr>
        </p15:guide>
        <p15:guide id="17" pos="3923">
          <p15:clr>
            <a:srgbClr val="F26B43"/>
          </p15:clr>
        </p15:guide>
        <p15:guide id="18" pos="3696">
          <p15:clr>
            <a:srgbClr val="F26B43"/>
          </p15:clr>
        </p15:guide>
        <p15:guide id="19" pos="183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13" imgH="416" progId="TCLayout.ActiveDocument.1">
                  <p:embed/>
                </p:oleObj>
              </mc:Choice>
              <mc:Fallback>
                <p:oleObj name="think-cell Slide" r:id="rId24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70" name="Grid" hidden="1">
            <a:extLst>
              <a:ext uri="{FF2B5EF4-FFF2-40B4-BE49-F238E27FC236}">
                <a16:creationId xmlns:a16="http://schemas.microsoft.com/office/drawing/2014/main" id="{3BBFEB30-B5C9-4D5C-9A82-066C6BF363E3}"/>
              </a:ext>
            </a:extLst>
          </p:cNvPr>
          <p:cNvGrpSpPr/>
          <p:nvPr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950B3518-D8B6-4062-A4CE-0C1A1A286FE1}"/>
                </a:ext>
              </a:extLst>
            </p:cNvPr>
            <p:cNvSpPr/>
            <p:nvPr userDrawn="1"/>
          </p:nvSpPr>
          <p:spPr bwMode="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EC45F528-EF91-4619-AF16-5D11F63D2FFC}"/>
                </a:ext>
              </a:extLst>
            </p:cNvPr>
            <p:cNvSpPr/>
            <p:nvPr/>
          </p:nvSpPr>
          <p:spPr bwMode="gray">
            <a:xfrm>
              <a:off x="1524" y="0"/>
              <a:ext cx="12188952" cy="6858000"/>
            </a:xfrm>
            <a:custGeom>
              <a:avLst/>
              <a:gdLst>
                <a:gd name="connsiteX0" fmla="*/ 553212 w 12188952"/>
                <a:gd name="connsiteY0" fmla="*/ 1405610 h 6858000"/>
                <a:gd name="connsiteX1" fmla="*/ 553212 w 12188952"/>
                <a:gd name="connsiteY1" fmla="*/ 1709928 h 6858000"/>
                <a:gd name="connsiteX2" fmla="*/ 551868 w 12188952"/>
                <a:gd name="connsiteY2" fmla="*/ 1709928 h 6858000"/>
                <a:gd name="connsiteX3" fmla="*/ 551868 w 12188952"/>
                <a:gd name="connsiteY3" fmla="*/ 6217920 h 6858000"/>
                <a:gd name="connsiteX4" fmla="*/ 553212 w 12188952"/>
                <a:gd name="connsiteY4" fmla="*/ 6217920 h 6858000"/>
                <a:gd name="connsiteX5" fmla="*/ 11635740 w 12188952"/>
                <a:gd name="connsiteY5" fmla="*/ 6217920 h 6858000"/>
                <a:gd name="connsiteX6" fmla="*/ 11636196 w 12188952"/>
                <a:gd name="connsiteY6" fmla="*/ 6217920 h 6858000"/>
                <a:gd name="connsiteX7" fmla="*/ 11636196 w 12188952"/>
                <a:gd name="connsiteY7" fmla="*/ 1709928 h 6858000"/>
                <a:gd name="connsiteX8" fmla="*/ 11635740 w 12188952"/>
                <a:gd name="connsiteY8" fmla="*/ 1709928 h 6858000"/>
                <a:gd name="connsiteX9" fmla="*/ 11635740 w 12188952"/>
                <a:gd name="connsiteY9" fmla="*/ 1405610 h 6858000"/>
                <a:gd name="connsiteX10" fmla="*/ 0 w 12188952"/>
                <a:gd name="connsiteY10" fmla="*/ 0 h 6858000"/>
                <a:gd name="connsiteX11" fmla="*/ 12188952 w 12188952"/>
                <a:gd name="connsiteY11" fmla="*/ 0 h 6858000"/>
                <a:gd name="connsiteX12" fmla="*/ 12188952 w 12188952"/>
                <a:gd name="connsiteY12" fmla="*/ 6858000 h 6858000"/>
                <a:gd name="connsiteX13" fmla="*/ 0 w 12188952"/>
                <a:gd name="connsiteY1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188952" h="6858000">
                  <a:moveTo>
                    <a:pt x="553212" y="1405610"/>
                  </a:moveTo>
                  <a:lnTo>
                    <a:pt x="553212" y="1709928"/>
                  </a:lnTo>
                  <a:lnTo>
                    <a:pt x="551868" y="1709928"/>
                  </a:lnTo>
                  <a:lnTo>
                    <a:pt x="551868" y="6217920"/>
                  </a:lnTo>
                  <a:lnTo>
                    <a:pt x="553212" y="6217920"/>
                  </a:lnTo>
                  <a:lnTo>
                    <a:pt x="11635740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lnTo>
                    <a:pt x="11635740" y="1709928"/>
                  </a:lnTo>
                  <a:lnTo>
                    <a:pt x="11635740" y="1405610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 rtl="0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73" name="Straight Connector 172">
              <a:extLst>
                <a:ext uri="{FF2B5EF4-FFF2-40B4-BE49-F238E27FC236}">
                  <a16:creationId xmlns:a16="http://schemas.microsoft.com/office/drawing/2014/main" id="{77ABF7BA-0428-4141-8351-03A2727DECBD}"/>
                </a:ext>
              </a:extLst>
            </p:cNvPr>
            <p:cNvCxnSpPr/>
            <p:nvPr/>
          </p:nvCxnSpPr>
          <p:spPr bwMode="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>
              <a:extLst>
                <a:ext uri="{FF2B5EF4-FFF2-40B4-BE49-F238E27FC236}">
                  <a16:creationId xmlns:a16="http://schemas.microsoft.com/office/drawing/2014/main" id="{94EB93D9-2FE5-4212-8DB4-7A0327E33766}"/>
                </a:ext>
              </a:extLst>
            </p:cNvPr>
            <p:cNvCxnSpPr/>
            <p:nvPr/>
          </p:nvCxnSpPr>
          <p:spPr bwMode="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>
              <a:extLst>
                <a:ext uri="{FF2B5EF4-FFF2-40B4-BE49-F238E27FC236}">
                  <a16:creationId xmlns:a16="http://schemas.microsoft.com/office/drawing/2014/main" id="{C2F34081-E688-4287-A553-264328F1E1E1}"/>
                </a:ext>
              </a:extLst>
            </p:cNvPr>
            <p:cNvCxnSpPr/>
            <p:nvPr/>
          </p:nvCxnSpPr>
          <p:spPr bwMode="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6868CDEE-044B-4D04-A5D3-6A526BE51179}"/>
                </a:ext>
              </a:extLst>
            </p:cNvPr>
            <p:cNvCxnSpPr/>
            <p:nvPr/>
          </p:nvCxnSpPr>
          <p:spPr bwMode="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0100C653-5CFA-4B3C-BD97-47499B419B53}"/>
                </a:ext>
              </a:extLst>
            </p:cNvPr>
            <p:cNvCxnSpPr/>
            <p:nvPr/>
          </p:nvCxnSpPr>
          <p:spPr bwMode="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F21F5AB2-1154-4ACD-832F-CB2539EE783F}"/>
                </a:ext>
              </a:extLst>
            </p:cNvPr>
            <p:cNvCxnSpPr/>
            <p:nvPr/>
          </p:nvCxnSpPr>
          <p:spPr bwMode="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466910D2-AFA9-4FD1-8D04-D99BB3645452}"/>
                </a:ext>
              </a:extLst>
            </p:cNvPr>
            <p:cNvCxnSpPr/>
            <p:nvPr/>
          </p:nvCxnSpPr>
          <p:spPr bwMode="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Connector 197">
              <a:extLst>
                <a:ext uri="{FF2B5EF4-FFF2-40B4-BE49-F238E27FC236}">
                  <a16:creationId xmlns:a16="http://schemas.microsoft.com/office/drawing/2014/main" id="{1769A11B-0399-4716-A212-6F179313A427}"/>
                </a:ext>
              </a:extLst>
            </p:cNvPr>
            <p:cNvCxnSpPr/>
            <p:nvPr/>
          </p:nvCxnSpPr>
          <p:spPr bwMode="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Straight Connector 198">
              <a:extLst>
                <a:ext uri="{FF2B5EF4-FFF2-40B4-BE49-F238E27FC236}">
                  <a16:creationId xmlns:a16="http://schemas.microsoft.com/office/drawing/2014/main" id="{2CB3272D-021B-49B8-92A5-D1DEB3202AE0}"/>
                </a:ext>
              </a:extLst>
            </p:cNvPr>
            <p:cNvCxnSpPr/>
            <p:nvPr/>
          </p:nvCxnSpPr>
          <p:spPr bwMode="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Connector 199">
              <a:extLst>
                <a:ext uri="{FF2B5EF4-FFF2-40B4-BE49-F238E27FC236}">
                  <a16:creationId xmlns:a16="http://schemas.microsoft.com/office/drawing/2014/main" id="{61701AE9-04C5-4AD4-8DEE-873680FD231F}"/>
                </a:ext>
              </a:extLst>
            </p:cNvPr>
            <p:cNvCxnSpPr/>
            <p:nvPr/>
          </p:nvCxnSpPr>
          <p:spPr bwMode="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Straight Connector 200">
              <a:extLst>
                <a:ext uri="{FF2B5EF4-FFF2-40B4-BE49-F238E27FC236}">
                  <a16:creationId xmlns:a16="http://schemas.microsoft.com/office/drawing/2014/main" id="{4050D91B-89C3-45DE-BE0C-1430E2BE6F4B}"/>
                </a:ext>
              </a:extLst>
            </p:cNvPr>
            <p:cNvCxnSpPr/>
            <p:nvPr/>
          </p:nvCxnSpPr>
          <p:spPr bwMode="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Straight Connector 201">
              <a:extLst>
                <a:ext uri="{FF2B5EF4-FFF2-40B4-BE49-F238E27FC236}">
                  <a16:creationId xmlns:a16="http://schemas.microsoft.com/office/drawing/2014/main" id="{68E5EF5D-0D94-4FCE-8BE2-F0790F7B1879}"/>
                </a:ext>
              </a:extLst>
            </p:cNvPr>
            <p:cNvCxnSpPr/>
            <p:nvPr/>
          </p:nvCxnSpPr>
          <p:spPr bwMode="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205F8351-710E-49E9-A523-EA0755B417C5}"/>
                </a:ext>
              </a:extLst>
            </p:cNvPr>
            <p:cNvSpPr/>
            <p:nvPr/>
          </p:nvSpPr>
          <p:spPr bwMode="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47C1C31B-A122-4A09-9500-27B0684B272F}"/>
                </a:ext>
              </a:extLst>
            </p:cNvPr>
            <p:cNvSpPr/>
            <p:nvPr/>
          </p:nvSpPr>
          <p:spPr bwMode="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7DF86859-7D4B-4DA1-91AA-0992644F5903}"/>
                </a:ext>
              </a:extLst>
            </p:cNvPr>
            <p:cNvSpPr/>
            <p:nvPr/>
          </p:nvSpPr>
          <p:spPr bwMode="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3DC3E9CA-569C-4414-A75A-C805A4A40B64}"/>
                </a:ext>
              </a:extLst>
            </p:cNvPr>
            <p:cNvSpPr/>
            <p:nvPr/>
          </p:nvSpPr>
          <p:spPr bwMode="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B532C466-D8D3-43AC-995C-2B54885AC096}"/>
                </a:ext>
              </a:extLst>
            </p:cNvPr>
            <p:cNvSpPr/>
            <p:nvPr/>
          </p:nvSpPr>
          <p:spPr bwMode="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B0920AE1-B909-471F-9E77-7C3A31509F84}"/>
                </a:ext>
              </a:extLst>
            </p:cNvPr>
            <p:cNvSpPr/>
            <p:nvPr/>
          </p:nvSpPr>
          <p:spPr bwMode="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2A1E8190-F3C6-4BF7-97E3-90F3FC84746E}"/>
                </a:ext>
              </a:extLst>
            </p:cNvPr>
            <p:cNvSpPr/>
            <p:nvPr/>
          </p:nvSpPr>
          <p:spPr bwMode="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33B1FC28-C9D6-4928-BCCE-9873C7DEEFDE}"/>
                </a:ext>
              </a:extLst>
            </p:cNvPr>
            <p:cNvSpPr/>
            <p:nvPr/>
          </p:nvSpPr>
          <p:spPr bwMode="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13C9C1F2-E745-44A5-AEA3-9DE0D69F2B15}"/>
                </a:ext>
              </a:extLst>
            </p:cNvPr>
            <p:cNvSpPr/>
            <p:nvPr/>
          </p:nvSpPr>
          <p:spPr bwMode="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3F7DB9B8-09EF-46A7-9839-EE0FA8E11651}"/>
                </a:ext>
              </a:extLst>
            </p:cNvPr>
            <p:cNvSpPr/>
            <p:nvPr/>
          </p:nvSpPr>
          <p:spPr bwMode="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759DC929-939A-40DF-96D2-82427AD8E191}"/>
                </a:ext>
              </a:extLst>
            </p:cNvPr>
            <p:cNvSpPr/>
            <p:nvPr/>
          </p:nvSpPr>
          <p:spPr bwMode="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71E475EA-3BCA-4BD2-9129-0A15F92784B0}"/>
                </a:ext>
              </a:extLst>
            </p:cNvPr>
            <p:cNvSpPr/>
            <p:nvPr/>
          </p:nvSpPr>
          <p:spPr bwMode="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B58358D8-4286-4ED9-A0FF-82879D8C9183}"/>
                </a:ext>
              </a:extLst>
            </p:cNvPr>
            <p:cNvSpPr/>
            <p:nvPr/>
          </p:nvSpPr>
          <p:spPr bwMode="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07E8672D-5A21-4EE8-8FA5-FBB35E3AF6F8}"/>
                </a:ext>
              </a:extLst>
            </p:cNvPr>
            <p:cNvSpPr/>
            <p:nvPr/>
          </p:nvSpPr>
          <p:spPr bwMode="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FA059A59-9BBE-4F86-862A-48E139D1EE64}"/>
                </a:ext>
              </a:extLst>
            </p:cNvPr>
            <p:cNvSpPr/>
            <p:nvPr userDrawn="1"/>
          </p:nvSpPr>
          <p:spPr bwMode="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55CF5402-4FC2-4420-ABC5-BBFA3EA9D203}"/>
                </a:ext>
              </a:extLst>
            </p:cNvPr>
            <p:cNvSpPr/>
            <p:nvPr userDrawn="1"/>
          </p:nvSpPr>
          <p:spPr bwMode="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10BB1258-8102-4E47-BE2F-816FBB6BA408}"/>
                </a:ext>
              </a:extLst>
            </p:cNvPr>
            <p:cNvSpPr/>
            <p:nvPr userDrawn="1"/>
          </p:nvSpPr>
          <p:spPr bwMode="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B270BD53-6742-47F1-853C-FA770237F3FD}"/>
                </a:ext>
              </a:extLst>
            </p:cNvPr>
            <p:cNvSpPr/>
            <p:nvPr userDrawn="1"/>
          </p:nvSpPr>
          <p:spPr bwMode="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3395B319-4702-4CD9-838C-C0612B6879BC}"/>
                </a:ext>
              </a:extLst>
            </p:cNvPr>
            <p:cNvSpPr/>
            <p:nvPr userDrawn="1"/>
          </p:nvSpPr>
          <p:spPr bwMode="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AE5E70F1-247D-4F01-A473-C5A9226BCADC}"/>
                </a:ext>
              </a:extLst>
            </p:cNvPr>
            <p:cNvSpPr/>
            <p:nvPr userDrawn="1"/>
          </p:nvSpPr>
          <p:spPr bwMode="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732858E4-B133-4A91-9BCA-BF80F093194A}"/>
                </a:ext>
              </a:extLst>
            </p:cNvPr>
            <p:cNvSpPr/>
            <p:nvPr userDrawn="1"/>
          </p:nvSpPr>
          <p:spPr bwMode="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027DED92-EF7A-4687-A1A4-BDAA2F1EAF12}"/>
                </a:ext>
              </a:extLst>
            </p:cNvPr>
            <p:cNvSpPr/>
            <p:nvPr userDrawn="1"/>
          </p:nvSpPr>
          <p:spPr bwMode="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53D72483-35F2-49AC-989D-0E1BC8456803}"/>
                </a:ext>
              </a:extLst>
            </p:cNvPr>
            <p:cNvSpPr/>
            <p:nvPr userDrawn="1"/>
          </p:nvSpPr>
          <p:spPr bwMode="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2DD2F54E-53A3-49F6-905E-B0F8E1348C8E}"/>
                </a:ext>
              </a:extLst>
            </p:cNvPr>
            <p:cNvSpPr/>
            <p:nvPr userDrawn="1"/>
          </p:nvSpPr>
          <p:spPr bwMode="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27" name="Straight Connector 226">
              <a:extLst>
                <a:ext uri="{FF2B5EF4-FFF2-40B4-BE49-F238E27FC236}">
                  <a16:creationId xmlns:a16="http://schemas.microsoft.com/office/drawing/2014/main" id="{557A01EE-7FB2-4BA0-B35A-2F95546E4624}"/>
                </a:ext>
              </a:extLst>
            </p:cNvPr>
            <p:cNvCxnSpPr/>
            <p:nvPr userDrawn="1"/>
          </p:nvCxnSpPr>
          <p:spPr bwMode="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Straight Connector 227">
              <a:extLst>
                <a:ext uri="{FF2B5EF4-FFF2-40B4-BE49-F238E27FC236}">
                  <a16:creationId xmlns:a16="http://schemas.microsoft.com/office/drawing/2014/main" id="{7FC1C45B-2B29-4A42-8D4B-721F68CA1348}"/>
                </a:ext>
              </a:extLst>
            </p:cNvPr>
            <p:cNvCxnSpPr/>
            <p:nvPr userDrawn="1"/>
          </p:nvCxnSpPr>
          <p:spPr bwMode="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Straight Connector 228">
              <a:extLst>
                <a:ext uri="{FF2B5EF4-FFF2-40B4-BE49-F238E27FC236}">
                  <a16:creationId xmlns:a16="http://schemas.microsoft.com/office/drawing/2014/main" id="{B1A27E92-9270-4990-A7E0-13762B5DCF31}"/>
                </a:ext>
              </a:extLst>
            </p:cNvPr>
            <p:cNvCxnSpPr/>
            <p:nvPr userDrawn="1"/>
          </p:nvCxnSpPr>
          <p:spPr bwMode="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Straight Connector 229">
              <a:extLst>
                <a:ext uri="{FF2B5EF4-FFF2-40B4-BE49-F238E27FC236}">
                  <a16:creationId xmlns:a16="http://schemas.microsoft.com/office/drawing/2014/main" id="{9F46154D-791B-4F7D-8E1C-E15CD03A29AA}"/>
                </a:ext>
              </a:extLst>
            </p:cNvPr>
            <p:cNvCxnSpPr/>
            <p:nvPr userDrawn="1"/>
          </p:nvCxnSpPr>
          <p:spPr bwMode="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Straight Connector 230">
              <a:extLst>
                <a:ext uri="{FF2B5EF4-FFF2-40B4-BE49-F238E27FC236}">
                  <a16:creationId xmlns:a16="http://schemas.microsoft.com/office/drawing/2014/main" id="{C9B4B757-25C9-484E-A4FE-A49FBA3319A4}"/>
                </a:ext>
              </a:extLst>
            </p:cNvPr>
            <p:cNvCxnSpPr/>
            <p:nvPr userDrawn="1"/>
          </p:nvCxnSpPr>
          <p:spPr bwMode="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2" name="Straight Connector 231">
              <a:extLst>
                <a:ext uri="{FF2B5EF4-FFF2-40B4-BE49-F238E27FC236}">
                  <a16:creationId xmlns:a16="http://schemas.microsoft.com/office/drawing/2014/main" id="{75535B4E-91AD-45A5-B3C9-3699892DFD15}"/>
                </a:ext>
              </a:extLst>
            </p:cNvPr>
            <p:cNvCxnSpPr/>
            <p:nvPr userDrawn="1"/>
          </p:nvCxnSpPr>
          <p:spPr bwMode="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3" name="Straight Connector 232">
              <a:extLst>
                <a:ext uri="{FF2B5EF4-FFF2-40B4-BE49-F238E27FC236}">
                  <a16:creationId xmlns:a16="http://schemas.microsoft.com/office/drawing/2014/main" id="{BB8DA04A-5D80-45BB-8266-4A4ECB242742}"/>
                </a:ext>
              </a:extLst>
            </p:cNvPr>
            <p:cNvCxnSpPr/>
            <p:nvPr userDrawn="1"/>
          </p:nvCxnSpPr>
          <p:spPr bwMode="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Straight Connector 233">
              <a:extLst>
                <a:ext uri="{FF2B5EF4-FFF2-40B4-BE49-F238E27FC236}">
                  <a16:creationId xmlns:a16="http://schemas.microsoft.com/office/drawing/2014/main" id="{E5E52966-F7BC-421A-9050-FFBE6C9FDFFC}"/>
                </a:ext>
              </a:extLst>
            </p:cNvPr>
            <p:cNvCxnSpPr/>
            <p:nvPr userDrawn="1"/>
          </p:nvCxnSpPr>
          <p:spPr bwMode="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5" name="Straight Connector 234">
              <a:extLst>
                <a:ext uri="{FF2B5EF4-FFF2-40B4-BE49-F238E27FC236}">
                  <a16:creationId xmlns:a16="http://schemas.microsoft.com/office/drawing/2014/main" id="{27183FD6-ADDC-4DBA-AD69-7D5A08920C83}"/>
                </a:ext>
              </a:extLst>
            </p:cNvPr>
            <p:cNvCxnSpPr/>
            <p:nvPr userDrawn="1"/>
          </p:nvCxnSpPr>
          <p:spPr bwMode="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Straight Connector 235">
              <a:extLst>
                <a:ext uri="{FF2B5EF4-FFF2-40B4-BE49-F238E27FC236}">
                  <a16:creationId xmlns:a16="http://schemas.microsoft.com/office/drawing/2014/main" id="{3B1C3B52-250A-482D-AE65-9AAC3A76868D}"/>
                </a:ext>
              </a:extLst>
            </p:cNvPr>
            <p:cNvCxnSpPr/>
            <p:nvPr userDrawn="1"/>
          </p:nvCxnSpPr>
          <p:spPr bwMode="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Straight Connector 236">
              <a:extLst>
                <a:ext uri="{FF2B5EF4-FFF2-40B4-BE49-F238E27FC236}">
                  <a16:creationId xmlns:a16="http://schemas.microsoft.com/office/drawing/2014/main" id="{3AB6E369-DE4F-4AA3-9B2B-FD9286DC14EB}"/>
                </a:ext>
              </a:extLst>
            </p:cNvPr>
            <p:cNvCxnSpPr/>
            <p:nvPr userDrawn="1"/>
          </p:nvCxnSpPr>
          <p:spPr bwMode="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8" name="Straight Connector 237">
              <a:extLst>
                <a:ext uri="{FF2B5EF4-FFF2-40B4-BE49-F238E27FC236}">
                  <a16:creationId xmlns:a16="http://schemas.microsoft.com/office/drawing/2014/main" id="{02D96B38-98DE-4984-BD84-08887A144206}"/>
                </a:ext>
              </a:extLst>
            </p:cNvPr>
            <p:cNvCxnSpPr/>
            <p:nvPr userDrawn="1"/>
          </p:nvCxnSpPr>
          <p:spPr bwMode="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2A47B8B7-112A-4075-B20A-90A845CE256B}"/>
                </a:ext>
              </a:extLst>
            </p:cNvPr>
            <p:cNvCxnSpPr/>
            <p:nvPr userDrawn="1"/>
          </p:nvCxnSpPr>
          <p:spPr bwMode="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Straight Connector 239">
              <a:extLst>
                <a:ext uri="{FF2B5EF4-FFF2-40B4-BE49-F238E27FC236}">
                  <a16:creationId xmlns:a16="http://schemas.microsoft.com/office/drawing/2014/main" id="{0FEBE3CB-E087-4212-96D5-920E5C903EF2}"/>
                </a:ext>
              </a:extLst>
            </p:cNvPr>
            <p:cNvCxnSpPr/>
            <p:nvPr userDrawn="1"/>
          </p:nvCxnSpPr>
          <p:spPr bwMode="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Straight Connector 240">
              <a:extLst>
                <a:ext uri="{FF2B5EF4-FFF2-40B4-BE49-F238E27FC236}">
                  <a16:creationId xmlns:a16="http://schemas.microsoft.com/office/drawing/2014/main" id="{3686B76C-7301-4C4A-B5BE-0AFF241FAEB0}"/>
                </a:ext>
              </a:extLst>
            </p:cNvPr>
            <p:cNvCxnSpPr/>
            <p:nvPr userDrawn="1"/>
          </p:nvCxnSpPr>
          <p:spPr bwMode="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Straight Connector 241">
              <a:extLst>
                <a:ext uri="{FF2B5EF4-FFF2-40B4-BE49-F238E27FC236}">
                  <a16:creationId xmlns:a16="http://schemas.microsoft.com/office/drawing/2014/main" id="{2B029B6E-808D-40CF-A2D1-AADA131A0D00}"/>
                </a:ext>
              </a:extLst>
            </p:cNvPr>
            <p:cNvCxnSpPr/>
            <p:nvPr userDrawn="1"/>
          </p:nvCxnSpPr>
          <p:spPr bwMode="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Straight Connector 242">
              <a:extLst>
                <a:ext uri="{FF2B5EF4-FFF2-40B4-BE49-F238E27FC236}">
                  <a16:creationId xmlns:a16="http://schemas.microsoft.com/office/drawing/2014/main" id="{8705E053-FBF3-4534-A74B-EC16CC92EE77}"/>
                </a:ext>
              </a:extLst>
            </p:cNvPr>
            <p:cNvCxnSpPr/>
            <p:nvPr userDrawn="1"/>
          </p:nvCxnSpPr>
          <p:spPr bwMode="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4" name="Straight Connector 243">
              <a:extLst>
                <a:ext uri="{FF2B5EF4-FFF2-40B4-BE49-F238E27FC236}">
                  <a16:creationId xmlns:a16="http://schemas.microsoft.com/office/drawing/2014/main" id="{BE0E44BE-C4B0-46A9-A59B-A43157B927C1}"/>
                </a:ext>
              </a:extLst>
            </p:cNvPr>
            <p:cNvCxnSpPr/>
            <p:nvPr userDrawn="1"/>
          </p:nvCxnSpPr>
          <p:spPr bwMode="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Straight Connector 244">
              <a:extLst>
                <a:ext uri="{FF2B5EF4-FFF2-40B4-BE49-F238E27FC236}">
                  <a16:creationId xmlns:a16="http://schemas.microsoft.com/office/drawing/2014/main" id="{9B09A95B-D404-461F-A093-7C895E3A741F}"/>
                </a:ext>
              </a:extLst>
            </p:cNvPr>
            <p:cNvCxnSpPr/>
            <p:nvPr userDrawn="1"/>
          </p:nvCxnSpPr>
          <p:spPr bwMode="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6" name="Straight Connector 245">
              <a:extLst>
                <a:ext uri="{FF2B5EF4-FFF2-40B4-BE49-F238E27FC236}">
                  <a16:creationId xmlns:a16="http://schemas.microsoft.com/office/drawing/2014/main" id="{A79A7095-2656-44EB-B0A3-4271C7264720}"/>
                </a:ext>
              </a:extLst>
            </p:cNvPr>
            <p:cNvCxnSpPr/>
            <p:nvPr userDrawn="1"/>
          </p:nvCxnSpPr>
          <p:spPr bwMode="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7" name="Straight Connector 246">
              <a:extLst>
                <a:ext uri="{FF2B5EF4-FFF2-40B4-BE49-F238E27FC236}">
                  <a16:creationId xmlns:a16="http://schemas.microsoft.com/office/drawing/2014/main" id="{BA4BC595-5B69-4C71-A5EC-2940C48186D2}"/>
                </a:ext>
              </a:extLst>
            </p:cNvPr>
            <p:cNvCxnSpPr/>
            <p:nvPr userDrawn="1"/>
          </p:nvCxnSpPr>
          <p:spPr bwMode="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Straight Connector 247">
              <a:extLst>
                <a:ext uri="{FF2B5EF4-FFF2-40B4-BE49-F238E27FC236}">
                  <a16:creationId xmlns:a16="http://schemas.microsoft.com/office/drawing/2014/main" id="{97474A32-631C-4FA8-B250-D9C17610DA92}"/>
                </a:ext>
              </a:extLst>
            </p:cNvPr>
            <p:cNvCxnSpPr/>
            <p:nvPr userDrawn="1"/>
          </p:nvCxnSpPr>
          <p:spPr bwMode="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Straight Connector 248">
              <a:extLst>
                <a:ext uri="{FF2B5EF4-FFF2-40B4-BE49-F238E27FC236}">
                  <a16:creationId xmlns:a16="http://schemas.microsoft.com/office/drawing/2014/main" id="{4FA397D1-2FFD-4719-93E4-17828F08EC1D}"/>
                </a:ext>
              </a:extLst>
            </p:cNvPr>
            <p:cNvCxnSpPr/>
            <p:nvPr userDrawn="1"/>
          </p:nvCxnSpPr>
          <p:spPr bwMode="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Straight Connector 249">
              <a:extLst>
                <a:ext uri="{FF2B5EF4-FFF2-40B4-BE49-F238E27FC236}">
                  <a16:creationId xmlns:a16="http://schemas.microsoft.com/office/drawing/2014/main" id="{12CDBCAF-60C0-40A4-97EA-7B190F17D13D}"/>
                </a:ext>
              </a:extLst>
            </p:cNvPr>
            <p:cNvCxnSpPr/>
            <p:nvPr userDrawn="1"/>
          </p:nvCxnSpPr>
          <p:spPr bwMode="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Straight Connector 250">
              <a:extLst>
                <a:ext uri="{FF2B5EF4-FFF2-40B4-BE49-F238E27FC236}">
                  <a16:creationId xmlns:a16="http://schemas.microsoft.com/office/drawing/2014/main" id="{88614279-F6F1-4779-A908-BEF080C471AB}"/>
                </a:ext>
              </a:extLst>
            </p:cNvPr>
            <p:cNvCxnSpPr/>
            <p:nvPr userDrawn="1"/>
          </p:nvCxnSpPr>
          <p:spPr bwMode="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Straight Connector 251">
              <a:extLst>
                <a:ext uri="{FF2B5EF4-FFF2-40B4-BE49-F238E27FC236}">
                  <a16:creationId xmlns:a16="http://schemas.microsoft.com/office/drawing/2014/main" id="{D77A8DFC-FE4B-4B06-8AEF-607F9AEE764E}"/>
                </a:ext>
              </a:extLst>
            </p:cNvPr>
            <p:cNvCxnSpPr/>
            <p:nvPr userDrawn="1"/>
          </p:nvCxnSpPr>
          <p:spPr bwMode="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Straight Connector 252">
              <a:extLst>
                <a:ext uri="{FF2B5EF4-FFF2-40B4-BE49-F238E27FC236}">
                  <a16:creationId xmlns:a16="http://schemas.microsoft.com/office/drawing/2014/main" id="{942E819A-5DA8-4032-B3EB-D10DC14D6C84}"/>
                </a:ext>
              </a:extLst>
            </p:cNvPr>
            <p:cNvCxnSpPr/>
            <p:nvPr userDrawn="1"/>
          </p:nvCxnSpPr>
          <p:spPr bwMode="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Straight Connector 253">
              <a:extLst>
                <a:ext uri="{FF2B5EF4-FFF2-40B4-BE49-F238E27FC236}">
                  <a16:creationId xmlns:a16="http://schemas.microsoft.com/office/drawing/2014/main" id="{1912236D-CA1F-4315-989A-12010EB46505}"/>
                </a:ext>
              </a:extLst>
            </p:cNvPr>
            <p:cNvCxnSpPr/>
            <p:nvPr userDrawn="1"/>
          </p:nvCxnSpPr>
          <p:spPr bwMode="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5" name="Straight Connector 254">
              <a:extLst>
                <a:ext uri="{FF2B5EF4-FFF2-40B4-BE49-F238E27FC236}">
                  <a16:creationId xmlns:a16="http://schemas.microsoft.com/office/drawing/2014/main" id="{44ED2ACF-C68A-42CC-A632-CD03AB2544F3}"/>
                </a:ext>
              </a:extLst>
            </p:cNvPr>
            <p:cNvCxnSpPr/>
            <p:nvPr userDrawn="1"/>
          </p:nvCxnSpPr>
          <p:spPr bwMode="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6" name="Straight Connector 255">
              <a:extLst>
                <a:ext uri="{FF2B5EF4-FFF2-40B4-BE49-F238E27FC236}">
                  <a16:creationId xmlns:a16="http://schemas.microsoft.com/office/drawing/2014/main" id="{4A8F039F-D473-4D39-8AC6-81810B219B3E}"/>
                </a:ext>
              </a:extLst>
            </p:cNvPr>
            <p:cNvCxnSpPr/>
            <p:nvPr userDrawn="1"/>
          </p:nvCxnSpPr>
          <p:spPr bwMode="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Straight Connector 256">
              <a:extLst>
                <a:ext uri="{FF2B5EF4-FFF2-40B4-BE49-F238E27FC236}">
                  <a16:creationId xmlns:a16="http://schemas.microsoft.com/office/drawing/2014/main" id="{BA241E12-AAE1-45D8-9D67-A8007269A3E0}"/>
                </a:ext>
              </a:extLst>
            </p:cNvPr>
            <p:cNvCxnSpPr/>
            <p:nvPr userDrawn="1"/>
          </p:nvCxnSpPr>
          <p:spPr bwMode="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Straight Connector 257">
              <a:extLst>
                <a:ext uri="{FF2B5EF4-FFF2-40B4-BE49-F238E27FC236}">
                  <a16:creationId xmlns:a16="http://schemas.microsoft.com/office/drawing/2014/main" id="{B3D829D9-0D54-4FB5-9FD5-512316CE5897}"/>
                </a:ext>
              </a:extLst>
            </p:cNvPr>
            <p:cNvCxnSpPr/>
            <p:nvPr userDrawn="1"/>
          </p:nvCxnSpPr>
          <p:spPr bwMode="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9" name="Straight Connector 258">
              <a:extLst>
                <a:ext uri="{FF2B5EF4-FFF2-40B4-BE49-F238E27FC236}">
                  <a16:creationId xmlns:a16="http://schemas.microsoft.com/office/drawing/2014/main" id="{6DCAEE40-53ED-4281-A3F1-ACB0AA93B7BD}"/>
                </a:ext>
              </a:extLst>
            </p:cNvPr>
            <p:cNvCxnSpPr/>
            <p:nvPr userDrawn="1"/>
          </p:nvCxnSpPr>
          <p:spPr bwMode="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Straight Connector 259">
              <a:extLst>
                <a:ext uri="{FF2B5EF4-FFF2-40B4-BE49-F238E27FC236}">
                  <a16:creationId xmlns:a16="http://schemas.microsoft.com/office/drawing/2014/main" id="{716D3477-104A-45EC-ABA6-46CC43BAB1CA}"/>
                </a:ext>
              </a:extLst>
            </p:cNvPr>
            <p:cNvCxnSpPr/>
            <p:nvPr userDrawn="1"/>
          </p:nvCxnSpPr>
          <p:spPr bwMode="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Straight Connector 260">
              <a:extLst>
                <a:ext uri="{FF2B5EF4-FFF2-40B4-BE49-F238E27FC236}">
                  <a16:creationId xmlns:a16="http://schemas.microsoft.com/office/drawing/2014/main" id="{25EC7B04-40CF-4499-BF37-9874AB2E42BC}"/>
                </a:ext>
              </a:extLst>
            </p:cNvPr>
            <p:cNvCxnSpPr/>
            <p:nvPr userDrawn="1"/>
          </p:nvCxnSpPr>
          <p:spPr bwMode="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2" name="Straight Connector 261">
              <a:extLst>
                <a:ext uri="{FF2B5EF4-FFF2-40B4-BE49-F238E27FC236}">
                  <a16:creationId xmlns:a16="http://schemas.microsoft.com/office/drawing/2014/main" id="{A1B7D422-DF11-439B-AA7B-5AE071A4C7DC}"/>
                </a:ext>
              </a:extLst>
            </p:cNvPr>
            <p:cNvCxnSpPr/>
            <p:nvPr userDrawn="1"/>
          </p:nvCxnSpPr>
          <p:spPr bwMode="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3" name="Straight Connector 262">
              <a:extLst>
                <a:ext uri="{FF2B5EF4-FFF2-40B4-BE49-F238E27FC236}">
                  <a16:creationId xmlns:a16="http://schemas.microsoft.com/office/drawing/2014/main" id="{21103B97-22A5-4A41-A8B4-4FBC1AB3251F}"/>
                </a:ext>
              </a:extLst>
            </p:cNvPr>
            <p:cNvCxnSpPr/>
            <p:nvPr userDrawn="1"/>
          </p:nvCxnSpPr>
          <p:spPr bwMode="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4" name="Straight Connector 263">
              <a:extLst>
                <a:ext uri="{FF2B5EF4-FFF2-40B4-BE49-F238E27FC236}">
                  <a16:creationId xmlns:a16="http://schemas.microsoft.com/office/drawing/2014/main" id="{706654E2-EE76-422E-8306-19CDD004E451}"/>
                </a:ext>
              </a:extLst>
            </p:cNvPr>
            <p:cNvCxnSpPr/>
            <p:nvPr userDrawn="1"/>
          </p:nvCxnSpPr>
          <p:spPr bwMode="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5" name="Straight Connector 264">
              <a:extLst>
                <a:ext uri="{FF2B5EF4-FFF2-40B4-BE49-F238E27FC236}">
                  <a16:creationId xmlns:a16="http://schemas.microsoft.com/office/drawing/2014/main" id="{61A46DB1-E3F1-48B8-8CD6-686C08337E3D}"/>
                </a:ext>
              </a:extLst>
            </p:cNvPr>
            <p:cNvCxnSpPr/>
            <p:nvPr userDrawn="1"/>
          </p:nvCxnSpPr>
          <p:spPr bwMode="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6" name="Straight Connector 265">
              <a:extLst>
                <a:ext uri="{FF2B5EF4-FFF2-40B4-BE49-F238E27FC236}">
                  <a16:creationId xmlns:a16="http://schemas.microsoft.com/office/drawing/2014/main" id="{C7EB58E3-EE98-4C63-A5FA-31A1F31261BD}"/>
                </a:ext>
              </a:extLst>
            </p:cNvPr>
            <p:cNvCxnSpPr/>
            <p:nvPr userDrawn="1"/>
          </p:nvCxnSpPr>
          <p:spPr bwMode="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7" name="Straight Connector 266">
              <a:extLst>
                <a:ext uri="{FF2B5EF4-FFF2-40B4-BE49-F238E27FC236}">
                  <a16:creationId xmlns:a16="http://schemas.microsoft.com/office/drawing/2014/main" id="{FDF83986-66A6-442D-9688-89B353D5848C}"/>
                </a:ext>
              </a:extLst>
            </p:cNvPr>
            <p:cNvCxnSpPr/>
            <p:nvPr userDrawn="1"/>
          </p:nvCxnSpPr>
          <p:spPr bwMode="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8" name="Straight Connector 267">
              <a:extLst>
                <a:ext uri="{FF2B5EF4-FFF2-40B4-BE49-F238E27FC236}">
                  <a16:creationId xmlns:a16="http://schemas.microsoft.com/office/drawing/2014/main" id="{AC32EE19-D046-4DA8-83C8-C7090C2032B7}"/>
                </a:ext>
              </a:extLst>
            </p:cNvPr>
            <p:cNvCxnSpPr/>
            <p:nvPr userDrawn="1"/>
          </p:nvCxnSpPr>
          <p:spPr bwMode="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9" name="Straight Connector 268">
              <a:extLst>
                <a:ext uri="{FF2B5EF4-FFF2-40B4-BE49-F238E27FC236}">
                  <a16:creationId xmlns:a16="http://schemas.microsoft.com/office/drawing/2014/main" id="{AE9073FA-D009-4B43-AE1C-76B2371EDB72}"/>
                </a:ext>
              </a:extLst>
            </p:cNvPr>
            <p:cNvCxnSpPr/>
            <p:nvPr userDrawn="1"/>
          </p:nvCxnSpPr>
          <p:spPr bwMode="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0" name="Straight Connector 269">
              <a:extLst>
                <a:ext uri="{FF2B5EF4-FFF2-40B4-BE49-F238E27FC236}">
                  <a16:creationId xmlns:a16="http://schemas.microsoft.com/office/drawing/2014/main" id="{A37EEEBC-9035-46B4-859D-8637EB5F71E7}"/>
                </a:ext>
              </a:extLst>
            </p:cNvPr>
            <p:cNvCxnSpPr/>
            <p:nvPr userDrawn="1"/>
          </p:nvCxnSpPr>
          <p:spPr bwMode="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1" name="main body box">
              <a:extLst>
                <a:ext uri="{FF2B5EF4-FFF2-40B4-BE49-F238E27FC236}">
                  <a16:creationId xmlns:a16="http://schemas.microsoft.com/office/drawing/2014/main" id="{5A4E68D2-98C2-4107-A058-DD36C69DD1BD}"/>
                </a:ext>
              </a:extLst>
            </p:cNvPr>
            <p:cNvSpPr/>
            <p:nvPr userDrawn="1"/>
          </p:nvSpPr>
          <p:spPr bwMode="gray">
            <a:xfrm>
              <a:off x="554736" y="1865376"/>
              <a:ext cx="11082528" cy="4352544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72" name="Straight Connector 271">
              <a:extLst>
                <a:ext uri="{FF2B5EF4-FFF2-40B4-BE49-F238E27FC236}">
                  <a16:creationId xmlns:a16="http://schemas.microsoft.com/office/drawing/2014/main" id="{CD320E2E-9A90-4FBD-95ED-547D38976E3C}"/>
                </a:ext>
              </a:extLst>
            </p:cNvPr>
            <p:cNvCxnSpPr/>
            <p:nvPr userDrawn="1"/>
          </p:nvCxnSpPr>
          <p:spPr bwMode="gray">
            <a:xfrm>
              <a:off x="554736" y="186537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273" name="Straight Connector 272">
              <a:extLst>
                <a:ext uri="{FF2B5EF4-FFF2-40B4-BE49-F238E27FC236}">
                  <a16:creationId xmlns:a16="http://schemas.microsoft.com/office/drawing/2014/main" id="{70454B89-8DFA-4EF3-83A9-38CF648F4CD1}"/>
                </a:ext>
              </a:extLst>
            </p:cNvPr>
            <p:cNvCxnSpPr/>
            <p:nvPr userDrawn="1"/>
          </p:nvCxnSpPr>
          <p:spPr bwMode="gray">
            <a:xfrm>
              <a:off x="554736" y="2324100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553972" y="6252024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49244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>
            <p:custDataLst>
              <p:tags r:id="rId23"/>
            </p:custDataLst>
          </p:nvPr>
        </p:nvSpPr>
        <p:spPr>
          <a:xfrm>
            <a:off x="5987738" y="2345587"/>
            <a:ext cx="3049253" cy="53860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sz="1400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345587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5" name="Sticker" hidden="1">
            <a:extLst>
              <a:ext uri="{FF2B5EF4-FFF2-40B4-BE49-F238E27FC236}">
                <a16:creationId xmlns:a16="http://schemas.microsoft.com/office/drawing/2014/main" id="{97ED2832-F2D3-4BBC-B741-D13502E9DAA9}"/>
              </a:ext>
            </a:extLst>
          </p:cNvPr>
          <p:cNvSpPr txBox="1"/>
          <p:nvPr/>
        </p:nvSpPr>
        <p:spPr>
          <a:xfrm>
            <a:off x="558489" y="1004773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90B073F3-A034-DB77-B246-08B3EC72A52E}"/>
              </a:ext>
            </a:extLst>
          </p:cNvPr>
          <p:cNvSpPr txBox="1">
            <a:spLocks/>
          </p:cNvSpPr>
          <p:nvPr/>
        </p:nvSpPr>
        <p:spPr>
          <a:xfrm>
            <a:off x="554736" y="6421809"/>
            <a:ext cx="1173398" cy="215444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 rtl="0">
              <a:buClr>
                <a:schemeClr val="tx1"/>
              </a:buClr>
              <a:tabLst>
                <a:tab pos="989013" algn="l"/>
              </a:tabLst>
            </a:pPr>
            <a:r>
              <a:rPr lang="en-US" sz="1400" b="1">
                <a:solidFill>
                  <a:schemeClr val="tx1"/>
                </a:solidFill>
              </a:rPr>
              <a:t>National Grid </a:t>
            </a:r>
          </a:p>
        </p:txBody>
      </p:sp>
    </p:spTree>
    <p:custDataLst>
      <p:tags r:id="rId18"/>
    </p:custDataLst>
    <p:extLst>
      <p:ext uri="{BB962C8B-B14F-4D97-AF65-F5344CB8AC3E}">
        <p14:creationId xmlns:p14="http://schemas.microsoft.com/office/powerpoint/2010/main" val="282174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40" r:id="rId13"/>
    <p:sldLayoutId id="2147483741" r:id="rId14"/>
    <p:sldLayoutId id="2147483742" r:id="rId15"/>
    <p:sldLayoutId id="2147483743" r:id="rId16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32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64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176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6.xml"/><Relationship Id="rId5" Type="http://schemas.microsoft.com/office/2007/relationships/hdphoto" Target="../media/hdphoto1.wdp"/><Relationship Id="rId4" Type="http://schemas.openxmlformats.org/officeDocument/2006/relationships/image" Target="../media/image3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2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40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2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40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3" Type="http://schemas.openxmlformats.org/officeDocument/2006/relationships/slideLayout" Target="../slideLayouts/slideLayout82.xml"/><Relationship Id="rId7" Type="http://schemas.openxmlformats.org/officeDocument/2006/relationships/image" Target="../media/image41.sv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40.emf"/><Relationship Id="rId5" Type="http://schemas.openxmlformats.org/officeDocument/2006/relationships/oleObject" Target="../embeddings/oleObject17.bin"/><Relationship Id="rId10" Type="http://schemas.openxmlformats.org/officeDocument/2006/relationships/image" Target="../media/image44.sv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4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01BE8E-3475-CA6D-1CC1-3CEED48CCB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group of people standing in a hallway&#10;&#10;AI-generated content may be incorrect.">
            <a:extLst>
              <a:ext uri="{FF2B5EF4-FFF2-40B4-BE49-F238E27FC236}">
                <a16:creationId xmlns:a16="http://schemas.microsoft.com/office/drawing/2014/main" id="{A9A7E710-FFBE-5FCF-168F-E1D8F651107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628" r="6462" b="20860"/>
          <a:stretch>
            <a:fillRect/>
          </a:stretch>
        </p:blipFill>
        <p:spPr>
          <a:xfrm>
            <a:off x="1" y="1"/>
            <a:ext cx="1219200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7569833C-958B-2C48-5878-5F9C8CA3E58C}"/>
              </a:ext>
            </a:extLst>
          </p:cNvPr>
          <p:cNvSpPr/>
          <p:nvPr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rgbClr val="000000">
              <a:alpha val="35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+mn-cs"/>
              <a:sym typeface="Arial"/>
            </a:endParaRPr>
          </a:p>
        </p:txBody>
      </p:sp>
      <p:sp>
        <p:nvSpPr>
          <p:cNvPr id="71" name="Text Placeholder 70">
            <a:extLst>
              <a:ext uri="{FF2B5EF4-FFF2-40B4-BE49-F238E27FC236}">
                <a16:creationId xmlns:a16="http://schemas.microsoft.com/office/drawing/2014/main" id="{7BC6E3B0-AA0B-CA66-6FC9-8F54A423894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026" y="3951012"/>
            <a:ext cx="11674625" cy="1896979"/>
          </a:xfrm>
        </p:spPr>
        <p:txBody>
          <a:bodyPr>
            <a:noAutofit/>
          </a:bodyPr>
          <a:lstStyle/>
          <a:p>
            <a:r>
              <a:rPr lang="en-US" sz="7200" dirty="0"/>
              <a:t>Approach to Grid Flexibility</a:t>
            </a:r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7528333C-906D-952D-39C7-E8017953F1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92029" y="6080791"/>
            <a:ext cx="9757441" cy="911483"/>
          </a:xfrm>
        </p:spPr>
        <p:txBody>
          <a:bodyPr/>
          <a:lstStyle/>
          <a:p>
            <a:r>
              <a:rPr lang="en-US" sz="2800" dirty="0">
                <a:cs typeface="Arial"/>
              </a:rPr>
              <a:t>New England Electric</a:t>
            </a:r>
          </a:p>
          <a:p>
            <a:endParaRPr lang="en-US" sz="2800" dirty="0">
              <a:cs typeface="Arial"/>
            </a:endParaRPr>
          </a:p>
        </p:txBody>
      </p:sp>
      <p:pic>
        <p:nvPicPr>
          <p:cNvPr id="73" name="Picture 72">
            <a:extLst>
              <a:ext uri="{FF2B5EF4-FFF2-40B4-BE49-F238E27FC236}">
                <a16:creationId xmlns:a16="http://schemas.microsoft.com/office/drawing/2014/main" id="{FB9B9EEB-FA20-869F-71D0-91498EC6EF9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7091" y="3241862"/>
            <a:ext cx="2021404" cy="440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3880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627D4B-1E46-3900-4BCB-500B47CAD3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7E5782D9-4166-D5AD-3185-B86363840F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5" y="248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5" imgH="312" progId="TCLayout.ActiveDocument.1">
                  <p:embed/>
                </p:oleObj>
              </mc:Choice>
              <mc:Fallback>
                <p:oleObj name="think-cell Slide" r:id="rId5" imgW="305" imgH="31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5782D9-4166-D5AD-3185-B86363840F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5" y="248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2">
            <a:extLst>
              <a:ext uri="{FF2B5EF4-FFF2-40B4-BE49-F238E27FC236}">
                <a16:creationId xmlns:a16="http://schemas.microsoft.com/office/drawing/2014/main" id="{6DE3D921-D66A-FB22-3AAF-72A77C05CBA6}"/>
              </a:ext>
            </a:extLst>
          </p:cNvPr>
          <p:cNvSpPr txBox="1">
            <a:spLocks/>
          </p:cNvSpPr>
          <p:nvPr/>
        </p:nvSpPr>
        <p:spPr>
          <a:xfrm>
            <a:off x="430373" y="356766"/>
            <a:ext cx="11329827" cy="574516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5pPr>
            <a:lvl6pPr marL="342857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6pPr>
            <a:lvl7pPr marL="685715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7pPr>
            <a:lvl8pPr marL="1028573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8pPr>
            <a:lvl9pPr marL="1371430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Four forces make “grid flexibility” a central industry theme, including in National Grid's US footprint.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A3C3E2C-672B-A73E-CC16-AC7FC5AADBC2}"/>
              </a:ext>
            </a:extLst>
          </p:cNvPr>
          <p:cNvGrpSpPr/>
          <p:nvPr/>
        </p:nvGrpSpPr>
        <p:grpSpPr>
          <a:xfrm>
            <a:off x="432635" y="1714525"/>
            <a:ext cx="8128002" cy="4457280"/>
            <a:chOff x="2031998" y="1873624"/>
            <a:chExt cx="8128002" cy="4457280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42599BDB-0739-7700-7D96-B4A6D73DC6A7}"/>
                </a:ext>
              </a:extLst>
            </p:cNvPr>
            <p:cNvSpPr/>
            <p:nvPr/>
          </p:nvSpPr>
          <p:spPr>
            <a:xfrm rot="21600000">
              <a:off x="2031998" y="1873625"/>
              <a:ext cx="4064001" cy="2228640"/>
            </a:xfrm>
            <a:custGeom>
              <a:avLst/>
              <a:gdLst>
                <a:gd name="csX0" fmla="*/ 0 w 2228640"/>
                <a:gd name="csY0" fmla="*/ 0 h 4064000"/>
                <a:gd name="csX1" fmla="*/ 1857193 w 2228640"/>
                <a:gd name="csY1" fmla="*/ 0 h 4064000"/>
                <a:gd name="csX2" fmla="*/ 2228640 w 2228640"/>
                <a:gd name="csY2" fmla="*/ 371447 h 4064000"/>
                <a:gd name="csX3" fmla="*/ 2228640 w 2228640"/>
                <a:gd name="csY3" fmla="*/ 4064000 h 4064000"/>
                <a:gd name="csX4" fmla="*/ 0 w 2228640"/>
                <a:gd name="csY4" fmla="*/ 4064000 h 4064000"/>
                <a:gd name="csX5" fmla="*/ 0 w 2228640"/>
                <a:gd name="csY5" fmla="*/ 0 h 406400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</a:cxnLst>
              <a:rect l="l" t="t" r="r" b="b"/>
              <a:pathLst>
                <a:path w="2228640" h="4064000">
                  <a:moveTo>
                    <a:pt x="0" y="4063999"/>
                  </a:moveTo>
                  <a:lnTo>
                    <a:pt x="0" y="677347"/>
                  </a:lnTo>
                  <a:cubicBezTo>
                    <a:pt x="0" y="303258"/>
                    <a:pt x="91198" y="1"/>
                    <a:pt x="203696" y="1"/>
                  </a:cubicBezTo>
                  <a:lnTo>
                    <a:pt x="2228640" y="1"/>
                  </a:lnTo>
                  <a:lnTo>
                    <a:pt x="2228640" y="4063999"/>
                  </a:lnTo>
                  <a:lnTo>
                    <a:pt x="0" y="4063999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9" tIns="135128" rIns="135128" bIns="692288" numCol="1" spcCol="1270" anchor="t" anchorCtr="0">
              <a:noAutofit/>
            </a:bodyPr>
            <a:lstStyle/>
            <a:p>
              <a:pPr marL="0" marR="0" lvl="0" indent="0" algn="l" defTabSz="8445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ffordability Pressure</a:t>
              </a:r>
            </a:p>
            <a:p>
              <a:pPr marL="114300" marR="0" lvl="1" indent="-114300" algn="l" defTabSz="6667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US" sz="15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st concerns create scrutiny on all proactive “wires” buildout </a:t>
              </a:r>
            </a:p>
            <a:p>
              <a:pPr marL="114300" marR="0" lvl="1" indent="-114300" algn="l" defTabSz="6667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US" sz="15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gulators and stakeholders are increasingly concerned with getting more out of the existing grid assets</a:t>
              </a: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2590DD8B-E510-6ED1-2DBF-8F45B4CF63F9}"/>
                </a:ext>
              </a:extLst>
            </p:cNvPr>
            <p:cNvSpPr/>
            <p:nvPr/>
          </p:nvSpPr>
          <p:spPr>
            <a:xfrm>
              <a:off x="6096000" y="1873624"/>
              <a:ext cx="4064000" cy="2228640"/>
            </a:xfrm>
            <a:custGeom>
              <a:avLst/>
              <a:gdLst>
                <a:gd name="csX0" fmla="*/ 0 w 4064000"/>
                <a:gd name="csY0" fmla="*/ 0 h 2228640"/>
                <a:gd name="csX1" fmla="*/ 3692553 w 4064000"/>
                <a:gd name="csY1" fmla="*/ 0 h 2228640"/>
                <a:gd name="csX2" fmla="*/ 4064000 w 4064000"/>
                <a:gd name="csY2" fmla="*/ 371447 h 2228640"/>
                <a:gd name="csX3" fmla="*/ 4064000 w 4064000"/>
                <a:gd name="csY3" fmla="*/ 2228640 h 2228640"/>
                <a:gd name="csX4" fmla="*/ 0 w 4064000"/>
                <a:gd name="csY4" fmla="*/ 2228640 h 2228640"/>
                <a:gd name="csX5" fmla="*/ 0 w 4064000"/>
                <a:gd name="csY5" fmla="*/ 0 h 222864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</a:cxnLst>
              <a:rect l="l" t="t" r="r" b="b"/>
              <a:pathLst>
                <a:path w="4064000" h="2228640">
                  <a:moveTo>
                    <a:pt x="0" y="0"/>
                  </a:moveTo>
                  <a:lnTo>
                    <a:pt x="3692553" y="0"/>
                  </a:lnTo>
                  <a:cubicBezTo>
                    <a:pt x="3897698" y="0"/>
                    <a:pt x="4064000" y="166302"/>
                    <a:pt x="4064000" y="371447"/>
                  </a:cubicBezTo>
                  <a:lnTo>
                    <a:pt x="4064000" y="2228640"/>
                  </a:lnTo>
                  <a:lnTo>
                    <a:pt x="0" y="222864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35128" rIns="135128" bIns="692288" numCol="1" spcCol="1270" anchor="t" anchorCtr="0">
              <a:noAutofit/>
            </a:bodyPr>
            <a:lstStyle/>
            <a:p>
              <a:pPr marL="0" marR="0" lvl="0" indent="0" algn="l" defTabSz="8445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arge Loads</a:t>
              </a:r>
            </a:p>
            <a:p>
              <a:pPr marL="114300" marR="0" lvl="1" indent="-114300" algn="l" defTabSz="6667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US" sz="15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I data centers focus attention on rapid interconnection of unprecedented loads</a:t>
              </a:r>
            </a:p>
            <a:p>
              <a:pPr marL="114300" marR="0" lvl="1" indent="-114300" algn="l" defTabSz="6667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US" sz="15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ew housing and economic development risk making utilities a “blocker” </a:t>
              </a: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633A5448-7162-2EFD-0BB4-37B25BC34755}"/>
                </a:ext>
              </a:extLst>
            </p:cNvPr>
            <p:cNvSpPr/>
            <p:nvPr/>
          </p:nvSpPr>
          <p:spPr>
            <a:xfrm rot="21600000">
              <a:off x="2032000" y="4102263"/>
              <a:ext cx="4064000" cy="2228641"/>
            </a:xfrm>
            <a:custGeom>
              <a:avLst/>
              <a:gdLst>
                <a:gd name="csX0" fmla="*/ 0 w 4064000"/>
                <a:gd name="csY0" fmla="*/ 0 h 2228640"/>
                <a:gd name="csX1" fmla="*/ 3692553 w 4064000"/>
                <a:gd name="csY1" fmla="*/ 0 h 2228640"/>
                <a:gd name="csX2" fmla="*/ 4064000 w 4064000"/>
                <a:gd name="csY2" fmla="*/ 371447 h 2228640"/>
                <a:gd name="csX3" fmla="*/ 4064000 w 4064000"/>
                <a:gd name="csY3" fmla="*/ 2228640 h 2228640"/>
                <a:gd name="csX4" fmla="*/ 0 w 4064000"/>
                <a:gd name="csY4" fmla="*/ 2228640 h 2228640"/>
                <a:gd name="csX5" fmla="*/ 0 w 4064000"/>
                <a:gd name="csY5" fmla="*/ 0 h 222864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</a:cxnLst>
              <a:rect l="l" t="t" r="r" b="b"/>
              <a:pathLst>
                <a:path w="4064000" h="2228640">
                  <a:moveTo>
                    <a:pt x="4064000" y="2228640"/>
                  </a:moveTo>
                  <a:lnTo>
                    <a:pt x="371447" y="2228640"/>
                  </a:lnTo>
                  <a:cubicBezTo>
                    <a:pt x="166302" y="2228640"/>
                    <a:pt x="0" y="2062338"/>
                    <a:pt x="0" y="1857193"/>
                  </a:cubicBezTo>
                  <a:lnTo>
                    <a:pt x="0" y="0"/>
                  </a:lnTo>
                  <a:lnTo>
                    <a:pt x="4064000" y="0"/>
                  </a:lnTo>
                  <a:lnTo>
                    <a:pt x="4064000" y="222864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692289" rIns="135128" bIns="135128" numCol="1" spcCol="1270" anchor="t" anchorCtr="0">
              <a:noAutofit/>
            </a:bodyPr>
            <a:lstStyle/>
            <a:p>
              <a:pPr marL="0" marR="0" lvl="0" indent="0" algn="l" defTabSz="8445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tility DSO Capabilities</a:t>
              </a:r>
            </a:p>
            <a:p>
              <a:pPr marL="114300" marR="0" lvl="1" indent="-114300" algn="l" defTabSz="6667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US" sz="15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tilities’ maturing capabilities to dispatch “grid flexibility” makes it a solution to grid constraints now</a:t>
              </a: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CDA51D9D-A06C-7D7C-B7A1-03F829F9008B}"/>
                </a:ext>
              </a:extLst>
            </p:cNvPr>
            <p:cNvSpPr/>
            <p:nvPr/>
          </p:nvSpPr>
          <p:spPr>
            <a:xfrm>
              <a:off x="6095999" y="4102264"/>
              <a:ext cx="4064000" cy="2228640"/>
            </a:xfrm>
            <a:custGeom>
              <a:avLst/>
              <a:gdLst>
                <a:gd name="csX0" fmla="*/ 0 w 2228640"/>
                <a:gd name="csY0" fmla="*/ 0 h 4064000"/>
                <a:gd name="csX1" fmla="*/ 1857193 w 2228640"/>
                <a:gd name="csY1" fmla="*/ 0 h 4064000"/>
                <a:gd name="csX2" fmla="*/ 2228640 w 2228640"/>
                <a:gd name="csY2" fmla="*/ 371447 h 4064000"/>
                <a:gd name="csX3" fmla="*/ 2228640 w 2228640"/>
                <a:gd name="csY3" fmla="*/ 4064000 h 4064000"/>
                <a:gd name="csX4" fmla="*/ 0 w 2228640"/>
                <a:gd name="csY4" fmla="*/ 4064000 h 4064000"/>
                <a:gd name="csX5" fmla="*/ 0 w 2228640"/>
                <a:gd name="csY5" fmla="*/ 0 h 406400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</a:cxnLst>
              <a:rect l="l" t="t" r="r" b="b"/>
              <a:pathLst>
                <a:path w="2228640" h="4064000">
                  <a:moveTo>
                    <a:pt x="2228640" y="1"/>
                  </a:moveTo>
                  <a:lnTo>
                    <a:pt x="2228640" y="3386653"/>
                  </a:lnTo>
                  <a:cubicBezTo>
                    <a:pt x="2228640" y="3760742"/>
                    <a:pt x="2137442" y="4063999"/>
                    <a:pt x="2024944" y="4063999"/>
                  </a:cubicBezTo>
                  <a:lnTo>
                    <a:pt x="0" y="4063999"/>
                  </a:lnTo>
                  <a:lnTo>
                    <a:pt x="0" y="1"/>
                  </a:lnTo>
                  <a:lnTo>
                    <a:pt x="2228640" y="1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692288" rIns="135128" bIns="135128" numCol="1" spcCol="1270" anchor="t" anchorCtr="0">
              <a:noAutofit/>
            </a:bodyPr>
            <a:lstStyle/>
            <a:p>
              <a:pPr marL="0" marR="0" lvl="0" indent="0" algn="l" defTabSz="8445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R Adoption</a:t>
              </a:r>
            </a:p>
            <a:p>
              <a:pPr marL="114300" marR="0" lvl="1" indent="-114300" algn="l" defTabSz="6667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US" sz="15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valence of DER and flexible loads is increasing</a:t>
              </a:r>
            </a:p>
            <a:p>
              <a:pPr marL="114300" marR="0" lvl="1" indent="-114300" algn="l" defTabSz="6667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US" sz="15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cale has transformed economics of distributed energy storage</a:t>
              </a: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9A696DC3-E5FC-1B17-2C11-07A4E7389517}"/>
                </a:ext>
              </a:extLst>
            </p:cNvPr>
            <p:cNvSpPr/>
            <p:nvPr/>
          </p:nvSpPr>
          <p:spPr>
            <a:xfrm>
              <a:off x="4876799" y="3545104"/>
              <a:ext cx="2438400" cy="1114320"/>
            </a:xfrm>
            <a:custGeom>
              <a:avLst/>
              <a:gdLst>
                <a:gd name="csX0" fmla="*/ 0 w 2438400"/>
                <a:gd name="csY0" fmla="*/ 185724 h 1114320"/>
                <a:gd name="csX1" fmla="*/ 185724 w 2438400"/>
                <a:gd name="csY1" fmla="*/ 0 h 1114320"/>
                <a:gd name="csX2" fmla="*/ 2252676 w 2438400"/>
                <a:gd name="csY2" fmla="*/ 0 h 1114320"/>
                <a:gd name="csX3" fmla="*/ 2438400 w 2438400"/>
                <a:gd name="csY3" fmla="*/ 185724 h 1114320"/>
                <a:gd name="csX4" fmla="*/ 2438400 w 2438400"/>
                <a:gd name="csY4" fmla="*/ 928596 h 1114320"/>
                <a:gd name="csX5" fmla="*/ 2252676 w 2438400"/>
                <a:gd name="csY5" fmla="*/ 1114320 h 1114320"/>
                <a:gd name="csX6" fmla="*/ 185724 w 2438400"/>
                <a:gd name="csY6" fmla="*/ 1114320 h 1114320"/>
                <a:gd name="csX7" fmla="*/ 0 w 2438400"/>
                <a:gd name="csY7" fmla="*/ 928596 h 1114320"/>
                <a:gd name="csX8" fmla="*/ 0 w 2438400"/>
                <a:gd name="csY8" fmla="*/ 185724 h 111432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</a:cxnLst>
              <a:rect l="l" t="t" r="r" b="b"/>
              <a:pathLst>
                <a:path w="2438400" h="1114320">
                  <a:moveTo>
                    <a:pt x="0" y="185724"/>
                  </a:moveTo>
                  <a:cubicBezTo>
                    <a:pt x="0" y="83151"/>
                    <a:pt x="83151" y="0"/>
                    <a:pt x="185724" y="0"/>
                  </a:cubicBezTo>
                  <a:lnTo>
                    <a:pt x="2252676" y="0"/>
                  </a:lnTo>
                  <a:cubicBezTo>
                    <a:pt x="2355249" y="0"/>
                    <a:pt x="2438400" y="83151"/>
                    <a:pt x="2438400" y="185724"/>
                  </a:cubicBezTo>
                  <a:lnTo>
                    <a:pt x="2438400" y="928596"/>
                  </a:lnTo>
                  <a:cubicBezTo>
                    <a:pt x="2438400" y="1031169"/>
                    <a:pt x="2355249" y="1114320"/>
                    <a:pt x="2252676" y="1114320"/>
                  </a:cubicBezTo>
                  <a:lnTo>
                    <a:pt x="185724" y="1114320"/>
                  </a:lnTo>
                  <a:cubicBezTo>
                    <a:pt x="83151" y="1114320"/>
                    <a:pt x="0" y="1031169"/>
                    <a:pt x="0" y="928596"/>
                  </a:cubicBezTo>
                  <a:lnTo>
                    <a:pt x="0" y="185724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26787" tIns="126787" rIns="126787" bIns="126787" numCol="1" spcCol="1270" anchor="ctr" anchorCtr="0">
              <a:noAutofit/>
            </a:bodyPr>
            <a:lstStyle/>
            <a:p>
              <a:pPr marL="0" marR="0" lvl="0" indent="0" algn="ctr" defTabSz="8445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00" b="1" i="0" u="none" strike="noStrike" kern="1200" cap="none" spc="0" normalizeH="0" baseline="0" noProof="0">
                  <a:ln>
                    <a:noFill/>
                  </a:ln>
                  <a:solidFill>
                    <a:srgbClr val="00148C">
                      <a:hueOff val="0"/>
                      <a:satOff val="0"/>
                      <a:lumOff val="0"/>
                      <a:alphaOff val="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rid Flexibility Opportunity</a:t>
              </a:r>
            </a:p>
          </p:txBody>
        </p:sp>
      </p:grpSp>
      <p:sp>
        <p:nvSpPr>
          <p:cNvPr id="75" name="Arrow: Right 74">
            <a:extLst>
              <a:ext uri="{FF2B5EF4-FFF2-40B4-BE49-F238E27FC236}">
                <a16:creationId xmlns:a16="http://schemas.microsoft.com/office/drawing/2014/main" id="{88DF7259-FE71-A367-7018-1955529FE2FB}"/>
              </a:ext>
            </a:extLst>
          </p:cNvPr>
          <p:cNvSpPr/>
          <p:nvPr/>
        </p:nvSpPr>
        <p:spPr>
          <a:xfrm>
            <a:off x="8279990" y="3662162"/>
            <a:ext cx="768144" cy="559980"/>
          </a:xfrm>
          <a:prstGeom prst="rightArrow">
            <a:avLst/>
          </a:prstGeom>
          <a:solidFill>
            <a:schemeClr val="bg2">
              <a:lumMod val="6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44268FA-82F8-B486-8033-0D20AA8F95A1}"/>
              </a:ext>
            </a:extLst>
          </p:cNvPr>
          <p:cNvGrpSpPr/>
          <p:nvPr/>
        </p:nvGrpSpPr>
        <p:grpSpPr>
          <a:xfrm>
            <a:off x="9184458" y="2304064"/>
            <a:ext cx="2455562" cy="676729"/>
            <a:chOff x="8389545" y="1731514"/>
            <a:chExt cx="2455562" cy="703350"/>
          </a:xfrm>
          <a:solidFill>
            <a:schemeClr val="accent5"/>
          </a:solidFill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F263E318-400E-3384-EF8A-E245C4E3B7AF}"/>
                </a:ext>
              </a:extLst>
            </p:cNvPr>
            <p:cNvSpPr/>
            <p:nvPr/>
          </p:nvSpPr>
          <p:spPr>
            <a:xfrm>
              <a:off x="8389545" y="1731514"/>
              <a:ext cx="2455562" cy="703350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Rectangle: Rounded Corners 8">
              <a:extLst>
                <a:ext uri="{FF2B5EF4-FFF2-40B4-BE49-F238E27FC236}">
                  <a16:creationId xmlns:a16="http://schemas.microsoft.com/office/drawing/2014/main" id="{C2443F5F-05F4-4292-15D0-777C6A9220B5}"/>
                </a:ext>
              </a:extLst>
            </p:cNvPr>
            <p:cNvSpPr txBox="1"/>
            <p:nvPr/>
          </p:nvSpPr>
          <p:spPr>
            <a:xfrm>
              <a:off x="8454787" y="1765849"/>
              <a:ext cx="2325079" cy="634681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890" tIns="8890" rIns="8890" bIns="8890" numCol="1" spcCol="1270" anchor="ctr" anchorCtr="0">
              <a:noAutofit/>
            </a:bodyPr>
            <a:lstStyle/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aster and cheaper customer connections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11BE085-9882-823E-2943-812F71F9F367}"/>
              </a:ext>
            </a:extLst>
          </p:cNvPr>
          <p:cNvGrpSpPr/>
          <p:nvPr/>
        </p:nvGrpSpPr>
        <p:grpSpPr>
          <a:xfrm>
            <a:off x="9196942" y="4697322"/>
            <a:ext cx="2430595" cy="676729"/>
            <a:chOff x="8397623" y="3434236"/>
            <a:chExt cx="2430595" cy="703350"/>
          </a:xfrm>
          <a:solidFill>
            <a:schemeClr val="accent5"/>
          </a:solidFill>
        </p:grpSpPr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7CA09F58-F785-00D4-CA92-099897DEFBE2}"/>
                </a:ext>
              </a:extLst>
            </p:cNvPr>
            <p:cNvSpPr/>
            <p:nvPr/>
          </p:nvSpPr>
          <p:spPr>
            <a:xfrm>
              <a:off x="8397623" y="3434236"/>
              <a:ext cx="2430595" cy="703350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Rectangle: Rounded Corners 8">
              <a:extLst>
                <a:ext uri="{FF2B5EF4-FFF2-40B4-BE49-F238E27FC236}">
                  <a16:creationId xmlns:a16="http://schemas.microsoft.com/office/drawing/2014/main" id="{0AA5C5C3-635C-67DE-112E-9ED5B27B95F8}"/>
                </a:ext>
              </a:extLst>
            </p:cNvPr>
            <p:cNvSpPr txBox="1"/>
            <p:nvPr/>
          </p:nvSpPr>
          <p:spPr>
            <a:xfrm>
              <a:off x="8462201" y="3468571"/>
              <a:ext cx="2301438" cy="634681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890" tIns="8890" rIns="8890" bIns="8890" numCol="1" spcCol="1270" anchor="ctr" anchorCtr="0">
              <a:noAutofit/>
            </a:bodyPr>
            <a:lstStyle/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ower wholesale energy costs from peak shaving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530591A-A1E3-FC4C-580D-F4A6EFB4B7FD}"/>
              </a:ext>
            </a:extLst>
          </p:cNvPr>
          <p:cNvGrpSpPr/>
          <p:nvPr/>
        </p:nvGrpSpPr>
        <p:grpSpPr>
          <a:xfrm>
            <a:off x="9184458" y="3899569"/>
            <a:ext cx="2455562" cy="676728"/>
            <a:chOff x="8372656" y="2537582"/>
            <a:chExt cx="2455562" cy="703349"/>
          </a:xfrm>
          <a:solidFill>
            <a:schemeClr val="accent5"/>
          </a:solidFill>
        </p:grpSpPr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D1E6446F-1E8D-F1D9-0446-9E734AEB4623}"/>
                </a:ext>
              </a:extLst>
            </p:cNvPr>
            <p:cNvSpPr/>
            <p:nvPr/>
          </p:nvSpPr>
          <p:spPr>
            <a:xfrm>
              <a:off x="8372656" y="2537582"/>
              <a:ext cx="2455562" cy="703349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Rectangle: Rounded Corners 8">
              <a:extLst>
                <a:ext uri="{FF2B5EF4-FFF2-40B4-BE49-F238E27FC236}">
                  <a16:creationId xmlns:a16="http://schemas.microsoft.com/office/drawing/2014/main" id="{6D7D53C8-1794-0EE1-0B4D-3E4D8203061C}"/>
                </a:ext>
              </a:extLst>
            </p:cNvPr>
            <p:cNvSpPr txBox="1"/>
            <p:nvPr/>
          </p:nvSpPr>
          <p:spPr>
            <a:xfrm>
              <a:off x="8522199" y="2570882"/>
              <a:ext cx="2156476" cy="636748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890" tIns="8890" rIns="8890" bIns="8890" numCol="1" spcCol="1270" anchor="ctr" anchorCtr="0">
              <a:noAutofit/>
            </a:bodyPr>
            <a:lstStyle/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st savings from avoided / deferred network investments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2E5DCE7-8D65-E018-62BA-1F889C43B5A4}"/>
              </a:ext>
            </a:extLst>
          </p:cNvPr>
          <p:cNvGrpSpPr/>
          <p:nvPr/>
        </p:nvGrpSpPr>
        <p:grpSpPr>
          <a:xfrm>
            <a:off x="9196942" y="5495077"/>
            <a:ext cx="2430595" cy="676729"/>
            <a:chOff x="8414512" y="4288711"/>
            <a:chExt cx="2430595" cy="703350"/>
          </a:xfrm>
          <a:solidFill>
            <a:schemeClr val="accent5"/>
          </a:solidFill>
        </p:grpSpPr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FAAC40E6-3900-B1CF-63FC-C8470A34967B}"/>
                </a:ext>
              </a:extLst>
            </p:cNvPr>
            <p:cNvSpPr/>
            <p:nvPr/>
          </p:nvSpPr>
          <p:spPr>
            <a:xfrm>
              <a:off x="8414512" y="4288711"/>
              <a:ext cx="2430595" cy="703350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Rectangle: Rounded Corners 8">
              <a:extLst>
                <a:ext uri="{FF2B5EF4-FFF2-40B4-BE49-F238E27FC236}">
                  <a16:creationId xmlns:a16="http://schemas.microsoft.com/office/drawing/2014/main" id="{656CEB45-BC9A-42BA-7545-2CB96FEA3545}"/>
                </a:ext>
              </a:extLst>
            </p:cNvPr>
            <p:cNvSpPr txBox="1"/>
            <p:nvPr/>
          </p:nvSpPr>
          <p:spPr>
            <a:xfrm>
              <a:off x="8479090" y="4323046"/>
              <a:ext cx="2301438" cy="634681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890" tIns="8890" rIns="8890" bIns="8890" numCol="1" spcCol="1270" anchor="ctr" anchorCtr="0">
              <a:noAutofit/>
            </a:bodyPr>
            <a:lstStyle/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mproved reliability with more options to balance supply and demand</a:t>
              </a: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CBC758B2-4B80-90F9-98D7-3742661C9CFD}"/>
              </a:ext>
            </a:extLst>
          </p:cNvPr>
          <p:cNvGrpSpPr/>
          <p:nvPr/>
        </p:nvGrpSpPr>
        <p:grpSpPr>
          <a:xfrm>
            <a:off x="9176772" y="1713704"/>
            <a:ext cx="2470935" cy="469337"/>
            <a:chOff x="5131087" y="2925520"/>
            <a:chExt cx="1868033" cy="1006960"/>
          </a:xfrm>
          <a:solidFill>
            <a:schemeClr val="accent4"/>
          </a:solidFill>
        </p:grpSpPr>
        <p:sp>
          <p:nvSpPr>
            <p:cNvPr id="71" name="Rectangle: Rounded Corners 70">
              <a:extLst>
                <a:ext uri="{FF2B5EF4-FFF2-40B4-BE49-F238E27FC236}">
                  <a16:creationId xmlns:a16="http://schemas.microsoft.com/office/drawing/2014/main" id="{4AD52B8F-8425-816A-EE29-9B12E5EA6A5F}"/>
                </a:ext>
              </a:extLst>
            </p:cNvPr>
            <p:cNvSpPr/>
            <p:nvPr/>
          </p:nvSpPr>
          <p:spPr>
            <a:xfrm>
              <a:off x="5131087" y="2925520"/>
              <a:ext cx="1868033" cy="1006960"/>
            </a:xfrm>
            <a:prstGeom prst="roundRect">
              <a:avLst/>
            </a:prstGeom>
            <a:grpFill/>
            <a:ln w="10795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Rectangle: Rounded Corners 4">
              <a:extLst>
                <a:ext uri="{FF2B5EF4-FFF2-40B4-BE49-F238E27FC236}">
                  <a16:creationId xmlns:a16="http://schemas.microsoft.com/office/drawing/2014/main" id="{8BA33596-CDFE-3B00-59D7-F5C642D38F4D}"/>
                </a:ext>
              </a:extLst>
            </p:cNvPr>
            <p:cNvSpPr txBox="1"/>
            <p:nvPr/>
          </p:nvSpPr>
          <p:spPr>
            <a:xfrm>
              <a:off x="5211656" y="2999887"/>
              <a:ext cx="1706894" cy="845150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525" tIns="9525" rIns="9525" bIns="9525" numCol="1" spcCol="1270" anchor="ctr" anchorCtr="0">
              <a:noAutofit/>
            </a:bodyPr>
            <a:lstStyle/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ustomer Benefits</a:t>
              </a: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C4546DFF-8715-91A5-6441-17BE7D84F6E6}"/>
              </a:ext>
            </a:extLst>
          </p:cNvPr>
          <p:cNvGrpSpPr/>
          <p:nvPr/>
        </p:nvGrpSpPr>
        <p:grpSpPr>
          <a:xfrm>
            <a:off x="9184458" y="3101815"/>
            <a:ext cx="2455562" cy="676729"/>
            <a:chOff x="8389545" y="1731514"/>
            <a:chExt cx="2455562" cy="703350"/>
          </a:xfrm>
          <a:solidFill>
            <a:schemeClr val="accent5"/>
          </a:solidFill>
        </p:grpSpPr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4B2977E4-8010-80AC-3730-09ED58660208}"/>
                </a:ext>
              </a:extLst>
            </p:cNvPr>
            <p:cNvSpPr/>
            <p:nvPr/>
          </p:nvSpPr>
          <p:spPr>
            <a:xfrm>
              <a:off x="8389545" y="1731514"/>
              <a:ext cx="2455562" cy="703350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Rectangle: Rounded Corners 8">
              <a:extLst>
                <a:ext uri="{FF2B5EF4-FFF2-40B4-BE49-F238E27FC236}">
                  <a16:creationId xmlns:a16="http://schemas.microsoft.com/office/drawing/2014/main" id="{3E277C56-61AF-7319-D81F-D4C7FCA6E262}"/>
                </a:ext>
              </a:extLst>
            </p:cNvPr>
            <p:cNvSpPr txBox="1"/>
            <p:nvPr/>
          </p:nvSpPr>
          <p:spPr>
            <a:xfrm>
              <a:off x="8454787" y="1765849"/>
              <a:ext cx="2325079" cy="634681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890" tIns="8890" rIns="8890" bIns="8890" numCol="1" spcCol="1270" anchor="ctr" anchorCtr="0">
              <a:noAutofit/>
            </a:bodyPr>
            <a:lstStyle/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conomic development, housing affordability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7755325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BD8FF7-0DC2-6F25-C699-E65559C0CA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2212"/>
            <a:ext cx="11082528" cy="861774"/>
          </a:xfrm>
        </p:spPr>
        <p:txBody>
          <a:bodyPr/>
          <a:lstStyle/>
          <a:p>
            <a:r>
              <a:rPr lang="en-US" sz="2800" dirty="0"/>
              <a:t>Expanding beyond </a:t>
            </a:r>
            <a:r>
              <a:rPr lang="en-US" sz="2800" dirty="0" err="1"/>
              <a:t>ConnectedSolutions</a:t>
            </a:r>
            <a:r>
              <a:rPr lang="en-US" sz="2800" dirty="0"/>
              <a:t>, National Grid has a portfolio of next-generation grid flexibility solutions.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B9D7F9CD-E668-672B-E914-271D81BB3690}"/>
              </a:ext>
            </a:extLst>
          </p:cNvPr>
          <p:cNvSpPr/>
          <p:nvPr/>
        </p:nvSpPr>
        <p:spPr>
          <a:xfrm>
            <a:off x="2032040" y="1657535"/>
            <a:ext cx="5276818" cy="958084"/>
          </a:xfrm>
          <a:custGeom>
            <a:avLst/>
            <a:gdLst>
              <a:gd name="csX0" fmla="*/ 0 w 5276818"/>
              <a:gd name="csY0" fmla="*/ 95808 h 958084"/>
              <a:gd name="csX1" fmla="*/ 95808 w 5276818"/>
              <a:gd name="csY1" fmla="*/ 0 h 958084"/>
              <a:gd name="csX2" fmla="*/ 5181010 w 5276818"/>
              <a:gd name="csY2" fmla="*/ 0 h 958084"/>
              <a:gd name="csX3" fmla="*/ 5276818 w 5276818"/>
              <a:gd name="csY3" fmla="*/ 95808 h 958084"/>
              <a:gd name="csX4" fmla="*/ 5276818 w 5276818"/>
              <a:gd name="csY4" fmla="*/ 862276 h 958084"/>
              <a:gd name="csX5" fmla="*/ 5181010 w 5276818"/>
              <a:gd name="csY5" fmla="*/ 958084 h 958084"/>
              <a:gd name="csX6" fmla="*/ 95808 w 5276818"/>
              <a:gd name="csY6" fmla="*/ 958084 h 958084"/>
              <a:gd name="csX7" fmla="*/ 0 w 5276818"/>
              <a:gd name="csY7" fmla="*/ 862276 h 958084"/>
              <a:gd name="csX8" fmla="*/ 0 w 5276818"/>
              <a:gd name="csY8" fmla="*/ 95808 h 9580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5276818" h="958084">
                <a:moveTo>
                  <a:pt x="0" y="95808"/>
                </a:moveTo>
                <a:cubicBezTo>
                  <a:pt x="0" y="42895"/>
                  <a:pt x="42895" y="0"/>
                  <a:pt x="95808" y="0"/>
                </a:cubicBezTo>
                <a:lnTo>
                  <a:pt x="5181010" y="0"/>
                </a:lnTo>
                <a:cubicBezTo>
                  <a:pt x="5233923" y="0"/>
                  <a:pt x="5276818" y="42895"/>
                  <a:pt x="5276818" y="95808"/>
                </a:cubicBezTo>
                <a:lnTo>
                  <a:pt x="5276818" y="862276"/>
                </a:lnTo>
                <a:cubicBezTo>
                  <a:pt x="5276818" y="915189"/>
                  <a:pt x="5233923" y="958084"/>
                  <a:pt x="5181010" y="958084"/>
                </a:cubicBezTo>
                <a:lnTo>
                  <a:pt x="95808" y="958084"/>
                </a:lnTo>
                <a:cubicBezTo>
                  <a:pt x="42895" y="958084"/>
                  <a:pt x="0" y="915189"/>
                  <a:pt x="0" y="862276"/>
                </a:cubicBezTo>
                <a:lnTo>
                  <a:pt x="0" y="95808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6641" tIns="96641" rIns="96641" bIns="96641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id Services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B37F6AB-EDF4-96F6-9A49-288DB1FE324C}"/>
              </a:ext>
            </a:extLst>
          </p:cNvPr>
          <p:cNvSpPr/>
          <p:nvPr/>
        </p:nvSpPr>
        <p:spPr>
          <a:xfrm>
            <a:off x="2032040" y="2753859"/>
            <a:ext cx="2585235" cy="958084"/>
          </a:xfrm>
          <a:custGeom>
            <a:avLst/>
            <a:gdLst>
              <a:gd name="csX0" fmla="*/ 0 w 2585235"/>
              <a:gd name="csY0" fmla="*/ 95808 h 958084"/>
              <a:gd name="csX1" fmla="*/ 95808 w 2585235"/>
              <a:gd name="csY1" fmla="*/ 0 h 958084"/>
              <a:gd name="csX2" fmla="*/ 2489427 w 2585235"/>
              <a:gd name="csY2" fmla="*/ 0 h 958084"/>
              <a:gd name="csX3" fmla="*/ 2585235 w 2585235"/>
              <a:gd name="csY3" fmla="*/ 95808 h 958084"/>
              <a:gd name="csX4" fmla="*/ 2585235 w 2585235"/>
              <a:gd name="csY4" fmla="*/ 862276 h 958084"/>
              <a:gd name="csX5" fmla="*/ 2489427 w 2585235"/>
              <a:gd name="csY5" fmla="*/ 958084 h 958084"/>
              <a:gd name="csX6" fmla="*/ 95808 w 2585235"/>
              <a:gd name="csY6" fmla="*/ 958084 h 958084"/>
              <a:gd name="csX7" fmla="*/ 0 w 2585235"/>
              <a:gd name="csY7" fmla="*/ 862276 h 958084"/>
              <a:gd name="csX8" fmla="*/ 0 w 2585235"/>
              <a:gd name="csY8" fmla="*/ 95808 h 9580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2585235" h="958084">
                <a:moveTo>
                  <a:pt x="0" y="95808"/>
                </a:moveTo>
                <a:cubicBezTo>
                  <a:pt x="0" y="42895"/>
                  <a:pt x="42895" y="0"/>
                  <a:pt x="95808" y="0"/>
                </a:cubicBezTo>
                <a:lnTo>
                  <a:pt x="2489427" y="0"/>
                </a:lnTo>
                <a:cubicBezTo>
                  <a:pt x="2542340" y="0"/>
                  <a:pt x="2585235" y="42895"/>
                  <a:pt x="2585235" y="95808"/>
                </a:cubicBezTo>
                <a:lnTo>
                  <a:pt x="2585235" y="862276"/>
                </a:lnTo>
                <a:cubicBezTo>
                  <a:pt x="2585235" y="915189"/>
                  <a:pt x="2542340" y="958084"/>
                  <a:pt x="2489427" y="958084"/>
                </a:cubicBezTo>
                <a:lnTo>
                  <a:pt x="95808" y="958084"/>
                </a:lnTo>
                <a:cubicBezTo>
                  <a:pt x="42895" y="958084"/>
                  <a:pt x="0" y="915189"/>
                  <a:pt x="0" y="862276"/>
                </a:cubicBezTo>
                <a:lnTo>
                  <a:pt x="0" y="95808"/>
                </a:lnTo>
                <a:close/>
              </a:path>
            </a:pathLst>
          </a:custGeom>
          <a:solidFill>
            <a:schemeClr val="accent5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1401" tIns="81401" rIns="81401" bIns="81401" numCol="1" spcCol="1270" anchor="ctr" anchorCtr="0">
            <a:noAutofit/>
          </a:bodyPr>
          <a:lstStyle/>
          <a:p>
            <a:pPr marL="0" marR="0" lvl="0" indent="0" algn="ct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n-Wires Alternatives (Scaling Up)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897C591-AD38-C237-1069-2D2AB16B4197}"/>
              </a:ext>
            </a:extLst>
          </p:cNvPr>
          <p:cNvSpPr/>
          <p:nvPr/>
        </p:nvSpPr>
        <p:spPr>
          <a:xfrm>
            <a:off x="2032040" y="3850183"/>
            <a:ext cx="1266031" cy="958084"/>
          </a:xfrm>
          <a:custGeom>
            <a:avLst/>
            <a:gdLst>
              <a:gd name="csX0" fmla="*/ 0 w 1266031"/>
              <a:gd name="csY0" fmla="*/ 95808 h 958084"/>
              <a:gd name="csX1" fmla="*/ 95808 w 1266031"/>
              <a:gd name="csY1" fmla="*/ 0 h 958084"/>
              <a:gd name="csX2" fmla="*/ 1170223 w 1266031"/>
              <a:gd name="csY2" fmla="*/ 0 h 958084"/>
              <a:gd name="csX3" fmla="*/ 1266031 w 1266031"/>
              <a:gd name="csY3" fmla="*/ 95808 h 958084"/>
              <a:gd name="csX4" fmla="*/ 1266031 w 1266031"/>
              <a:gd name="csY4" fmla="*/ 862276 h 958084"/>
              <a:gd name="csX5" fmla="*/ 1170223 w 1266031"/>
              <a:gd name="csY5" fmla="*/ 958084 h 958084"/>
              <a:gd name="csX6" fmla="*/ 95808 w 1266031"/>
              <a:gd name="csY6" fmla="*/ 958084 h 958084"/>
              <a:gd name="csX7" fmla="*/ 0 w 1266031"/>
              <a:gd name="csY7" fmla="*/ 862276 h 958084"/>
              <a:gd name="csX8" fmla="*/ 0 w 1266031"/>
              <a:gd name="csY8" fmla="*/ 95808 h 9580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266031" h="958084">
                <a:moveTo>
                  <a:pt x="0" y="95808"/>
                </a:moveTo>
                <a:cubicBezTo>
                  <a:pt x="0" y="42895"/>
                  <a:pt x="42895" y="0"/>
                  <a:pt x="95808" y="0"/>
                </a:cubicBezTo>
                <a:lnTo>
                  <a:pt x="1170223" y="0"/>
                </a:lnTo>
                <a:cubicBezTo>
                  <a:pt x="1223136" y="0"/>
                  <a:pt x="1266031" y="42895"/>
                  <a:pt x="1266031" y="95808"/>
                </a:cubicBezTo>
                <a:lnTo>
                  <a:pt x="1266031" y="862276"/>
                </a:lnTo>
                <a:cubicBezTo>
                  <a:pt x="1266031" y="915189"/>
                  <a:pt x="1223136" y="958084"/>
                  <a:pt x="1170223" y="958084"/>
                </a:cubicBezTo>
                <a:lnTo>
                  <a:pt x="95808" y="958084"/>
                </a:lnTo>
                <a:cubicBezTo>
                  <a:pt x="42895" y="958084"/>
                  <a:pt x="0" y="915189"/>
                  <a:pt x="0" y="862276"/>
                </a:cubicBezTo>
                <a:lnTo>
                  <a:pt x="0" y="95808"/>
                </a:lnTo>
                <a:close/>
              </a:path>
            </a:pathLst>
          </a:custGeom>
          <a:solidFill>
            <a:schemeClr val="accent5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1401" tIns="81401" rIns="81401" bIns="81401" numCol="1" spcCol="1270" anchor="ctr" anchorCtr="0">
            <a:noAutofit/>
          </a:bodyPr>
          <a:lstStyle/>
          <a:p>
            <a:pPr marL="0" marR="0" lvl="0" indent="0" algn="ct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nected Solutions+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88E2D1B4-B08C-04DC-AEE3-819E32027ABE}"/>
              </a:ext>
            </a:extLst>
          </p:cNvPr>
          <p:cNvSpPr/>
          <p:nvPr/>
        </p:nvSpPr>
        <p:spPr>
          <a:xfrm>
            <a:off x="3351245" y="3850182"/>
            <a:ext cx="1266031" cy="448056"/>
          </a:xfrm>
          <a:custGeom>
            <a:avLst/>
            <a:gdLst>
              <a:gd name="csX0" fmla="*/ 0 w 1266031"/>
              <a:gd name="csY0" fmla="*/ 95808 h 958084"/>
              <a:gd name="csX1" fmla="*/ 95808 w 1266031"/>
              <a:gd name="csY1" fmla="*/ 0 h 958084"/>
              <a:gd name="csX2" fmla="*/ 1170223 w 1266031"/>
              <a:gd name="csY2" fmla="*/ 0 h 958084"/>
              <a:gd name="csX3" fmla="*/ 1266031 w 1266031"/>
              <a:gd name="csY3" fmla="*/ 95808 h 958084"/>
              <a:gd name="csX4" fmla="*/ 1266031 w 1266031"/>
              <a:gd name="csY4" fmla="*/ 862276 h 958084"/>
              <a:gd name="csX5" fmla="*/ 1170223 w 1266031"/>
              <a:gd name="csY5" fmla="*/ 958084 h 958084"/>
              <a:gd name="csX6" fmla="*/ 95808 w 1266031"/>
              <a:gd name="csY6" fmla="*/ 958084 h 958084"/>
              <a:gd name="csX7" fmla="*/ 0 w 1266031"/>
              <a:gd name="csY7" fmla="*/ 862276 h 958084"/>
              <a:gd name="csX8" fmla="*/ 0 w 1266031"/>
              <a:gd name="csY8" fmla="*/ 95808 h 9580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266031" h="958084">
                <a:moveTo>
                  <a:pt x="0" y="95808"/>
                </a:moveTo>
                <a:cubicBezTo>
                  <a:pt x="0" y="42895"/>
                  <a:pt x="42895" y="0"/>
                  <a:pt x="95808" y="0"/>
                </a:cubicBezTo>
                <a:lnTo>
                  <a:pt x="1170223" y="0"/>
                </a:lnTo>
                <a:cubicBezTo>
                  <a:pt x="1223136" y="0"/>
                  <a:pt x="1266031" y="42895"/>
                  <a:pt x="1266031" y="95808"/>
                </a:cubicBezTo>
                <a:lnTo>
                  <a:pt x="1266031" y="862276"/>
                </a:lnTo>
                <a:cubicBezTo>
                  <a:pt x="1266031" y="915189"/>
                  <a:pt x="1223136" y="958084"/>
                  <a:pt x="1170223" y="958084"/>
                </a:cubicBezTo>
                <a:lnTo>
                  <a:pt x="95808" y="958084"/>
                </a:lnTo>
                <a:cubicBezTo>
                  <a:pt x="42895" y="958084"/>
                  <a:pt x="0" y="915189"/>
                  <a:pt x="0" y="862276"/>
                </a:cubicBezTo>
                <a:lnTo>
                  <a:pt x="0" y="95808"/>
                </a:lnTo>
                <a:close/>
              </a:path>
            </a:pathLst>
          </a:custGeom>
          <a:solidFill>
            <a:schemeClr val="accent5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1401" tIns="81401" rIns="81401" bIns="81401" numCol="1" spcCol="1270" anchor="ctr" anchorCtr="0">
            <a:noAutofit/>
          </a:bodyPr>
          <a:lstStyle/>
          <a:p>
            <a:pPr marL="0" marR="0" lvl="0" indent="0" algn="ct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id Services Procurements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1674014A-CD91-1239-F028-700C46053E20}"/>
              </a:ext>
            </a:extLst>
          </p:cNvPr>
          <p:cNvSpPr/>
          <p:nvPr/>
        </p:nvSpPr>
        <p:spPr>
          <a:xfrm>
            <a:off x="4723623" y="2753859"/>
            <a:ext cx="2585235" cy="958084"/>
          </a:xfrm>
          <a:custGeom>
            <a:avLst/>
            <a:gdLst>
              <a:gd name="csX0" fmla="*/ 0 w 2585235"/>
              <a:gd name="csY0" fmla="*/ 95808 h 958084"/>
              <a:gd name="csX1" fmla="*/ 95808 w 2585235"/>
              <a:gd name="csY1" fmla="*/ 0 h 958084"/>
              <a:gd name="csX2" fmla="*/ 2489427 w 2585235"/>
              <a:gd name="csY2" fmla="*/ 0 h 958084"/>
              <a:gd name="csX3" fmla="*/ 2585235 w 2585235"/>
              <a:gd name="csY3" fmla="*/ 95808 h 958084"/>
              <a:gd name="csX4" fmla="*/ 2585235 w 2585235"/>
              <a:gd name="csY4" fmla="*/ 862276 h 958084"/>
              <a:gd name="csX5" fmla="*/ 2489427 w 2585235"/>
              <a:gd name="csY5" fmla="*/ 958084 h 958084"/>
              <a:gd name="csX6" fmla="*/ 95808 w 2585235"/>
              <a:gd name="csY6" fmla="*/ 958084 h 958084"/>
              <a:gd name="csX7" fmla="*/ 0 w 2585235"/>
              <a:gd name="csY7" fmla="*/ 862276 h 958084"/>
              <a:gd name="csX8" fmla="*/ 0 w 2585235"/>
              <a:gd name="csY8" fmla="*/ 95808 h 9580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2585235" h="958084">
                <a:moveTo>
                  <a:pt x="0" y="95808"/>
                </a:moveTo>
                <a:cubicBezTo>
                  <a:pt x="0" y="42895"/>
                  <a:pt x="42895" y="0"/>
                  <a:pt x="95808" y="0"/>
                </a:cubicBezTo>
                <a:lnTo>
                  <a:pt x="2489427" y="0"/>
                </a:lnTo>
                <a:cubicBezTo>
                  <a:pt x="2542340" y="0"/>
                  <a:pt x="2585235" y="42895"/>
                  <a:pt x="2585235" y="95808"/>
                </a:cubicBezTo>
                <a:lnTo>
                  <a:pt x="2585235" y="862276"/>
                </a:lnTo>
                <a:cubicBezTo>
                  <a:pt x="2585235" y="915189"/>
                  <a:pt x="2542340" y="958084"/>
                  <a:pt x="2489427" y="958084"/>
                </a:cubicBezTo>
                <a:lnTo>
                  <a:pt x="95808" y="958084"/>
                </a:lnTo>
                <a:cubicBezTo>
                  <a:pt x="42895" y="958084"/>
                  <a:pt x="0" y="915189"/>
                  <a:pt x="0" y="862276"/>
                </a:cubicBezTo>
                <a:lnTo>
                  <a:pt x="0" y="95808"/>
                </a:lnTo>
                <a:close/>
              </a:path>
            </a:pathLst>
          </a:custGeom>
          <a:solidFill>
            <a:schemeClr val="accent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1401" tIns="81401" rIns="81401" bIns="81401" numCol="1" spcCol="1270" anchor="ctr" anchorCtr="0">
            <a:noAutofit/>
          </a:bodyPr>
          <a:lstStyle/>
          <a:p>
            <a:pPr marL="0" marR="0" lvl="0" indent="0" algn="ct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novation Efforts (Pilots/Demos)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3BAF72F4-C909-60EF-9721-22E96215C576}"/>
              </a:ext>
            </a:extLst>
          </p:cNvPr>
          <p:cNvSpPr/>
          <p:nvPr/>
        </p:nvSpPr>
        <p:spPr>
          <a:xfrm>
            <a:off x="4723623" y="3850183"/>
            <a:ext cx="1266031" cy="958084"/>
          </a:xfrm>
          <a:custGeom>
            <a:avLst/>
            <a:gdLst>
              <a:gd name="csX0" fmla="*/ 0 w 1266031"/>
              <a:gd name="csY0" fmla="*/ 95808 h 958084"/>
              <a:gd name="csX1" fmla="*/ 95808 w 1266031"/>
              <a:gd name="csY1" fmla="*/ 0 h 958084"/>
              <a:gd name="csX2" fmla="*/ 1170223 w 1266031"/>
              <a:gd name="csY2" fmla="*/ 0 h 958084"/>
              <a:gd name="csX3" fmla="*/ 1266031 w 1266031"/>
              <a:gd name="csY3" fmla="*/ 95808 h 958084"/>
              <a:gd name="csX4" fmla="*/ 1266031 w 1266031"/>
              <a:gd name="csY4" fmla="*/ 862276 h 958084"/>
              <a:gd name="csX5" fmla="*/ 1170223 w 1266031"/>
              <a:gd name="csY5" fmla="*/ 958084 h 958084"/>
              <a:gd name="csX6" fmla="*/ 95808 w 1266031"/>
              <a:gd name="csY6" fmla="*/ 958084 h 958084"/>
              <a:gd name="csX7" fmla="*/ 0 w 1266031"/>
              <a:gd name="csY7" fmla="*/ 862276 h 958084"/>
              <a:gd name="csX8" fmla="*/ 0 w 1266031"/>
              <a:gd name="csY8" fmla="*/ 95808 h 9580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266031" h="958084">
                <a:moveTo>
                  <a:pt x="0" y="95808"/>
                </a:moveTo>
                <a:cubicBezTo>
                  <a:pt x="0" y="42895"/>
                  <a:pt x="42895" y="0"/>
                  <a:pt x="95808" y="0"/>
                </a:cubicBezTo>
                <a:lnTo>
                  <a:pt x="1170223" y="0"/>
                </a:lnTo>
                <a:cubicBezTo>
                  <a:pt x="1223136" y="0"/>
                  <a:pt x="1266031" y="42895"/>
                  <a:pt x="1266031" y="95808"/>
                </a:cubicBezTo>
                <a:lnTo>
                  <a:pt x="1266031" y="862276"/>
                </a:lnTo>
                <a:cubicBezTo>
                  <a:pt x="1266031" y="915189"/>
                  <a:pt x="1223136" y="958084"/>
                  <a:pt x="1170223" y="958084"/>
                </a:cubicBezTo>
                <a:lnTo>
                  <a:pt x="95808" y="958084"/>
                </a:lnTo>
                <a:cubicBezTo>
                  <a:pt x="42895" y="958084"/>
                  <a:pt x="0" y="915189"/>
                  <a:pt x="0" y="862276"/>
                </a:cubicBezTo>
                <a:lnTo>
                  <a:pt x="0" y="95808"/>
                </a:lnTo>
                <a:close/>
              </a:path>
            </a:pathLst>
          </a:custGeom>
          <a:solidFill>
            <a:schemeClr val="accent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1401" tIns="81401" rIns="81401" bIns="81401" numCol="1" spcCol="1270" anchor="ctr" anchorCtr="0">
            <a:noAutofit/>
          </a:bodyPr>
          <a:lstStyle/>
          <a:p>
            <a:pPr marL="0" marR="0" lvl="0" indent="0" algn="ct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MI Battery VPP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F48E556B-1A28-321C-BF7E-1168C5BCF9D7}"/>
              </a:ext>
            </a:extLst>
          </p:cNvPr>
          <p:cNvSpPr/>
          <p:nvPr/>
        </p:nvSpPr>
        <p:spPr>
          <a:xfrm>
            <a:off x="6042827" y="3850183"/>
            <a:ext cx="1266031" cy="958084"/>
          </a:xfrm>
          <a:custGeom>
            <a:avLst/>
            <a:gdLst>
              <a:gd name="csX0" fmla="*/ 0 w 1266031"/>
              <a:gd name="csY0" fmla="*/ 95808 h 958084"/>
              <a:gd name="csX1" fmla="*/ 95808 w 1266031"/>
              <a:gd name="csY1" fmla="*/ 0 h 958084"/>
              <a:gd name="csX2" fmla="*/ 1170223 w 1266031"/>
              <a:gd name="csY2" fmla="*/ 0 h 958084"/>
              <a:gd name="csX3" fmla="*/ 1266031 w 1266031"/>
              <a:gd name="csY3" fmla="*/ 95808 h 958084"/>
              <a:gd name="csX4" fmla="*/ 1266031 w 1266031"/>
              <a:gd name="csY4" fmla="*/ 862276 h 958084"/>
              <a:gd name="csX5" fmla="*/ 1170223 w 1266031"/>
              <a:gd name="csY5" fmla="*/ 958084 h 958084"/>
              <a:gd name="csX6" fmla="*/ 95808 w 1266031"/>
              <a:gd name="csY6" fmla="*/ 958084 h 958084"/>
              <a:gd name="csX7" fmla="*/ 0 w 1266031"/>
              <a:gd name="csY7" fmla="*/ 862276 h 958084"/>
              <a:gd name="csX8" fmla="*/ 0 w 1266031"/>
              <a:gd name="csY8" fmla="*/ 95808 h 9580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266031" h="958084">
                <a:moveTo>
                  <a:pt x="0" y="95808"/>
                </a:moveTo>
                <a:cubicBezTo>
                  <a:pt x="0" y="42895"/>
                  <a:pt x="42895" y="0"/>
                  <a:pt x="95808" y="0"/>
                </a:cubicBezTo>
                <a:lnTo>
                  <a:pt x="1170223" y="0"/>
                </a:lnTo>
                <a:cubicBezTo>
                  <a:pt x="1223136" y="0"/>
                  <a:pt x="1266031" y="42895"/>
                  <a:pt x="1266031" y="95808"/>
                </a:cubicBezTo>
                <a:lnTo>
                  <a:pt x="1266031" y="862276"/>
                </a:lnTo>
                <a:cubicBezTo>
                  <a:pt x="1266031" y="915189"/>
                  <a:pt x="1223136" y="958084"/>
                  <a:pt x="1170223" y="958084"/>
                </a:cubicBezTo>
                <a:lnTo>
                  <a:pt x="95808" y="958084"/>
                </a:lnTo>
                <a:cubicBezTo>
                  <a:pt x="42895" y="958084"/>
                  <a:pt x="0" y="915189"/>
                  <a:pt x="0" y="862276"/>
                </a:cubicBezTo>
                <a:lnTo>
                  <a:pt x="0" y="95808"/>
                </a:lnTo>
                <a:close/>
              </a:path>
            </a:pathLst>
          </a:custGeom>
          <a:solidFill>
            <a:schemeClr val="accent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1401" tIns="81401" rIns="81401" bIns="81401" numCol="1" spcCol="1270" anchor="ctr" anchorCtr="0">
            <a:noAutofit/>
          </a:bodyPr>
          <a:lstStyle/>
          <a:p>
            <a:pPr marL="0" marR="0" lvl="0" indent="0" algn="ct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l Elec. New Construction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AF57835-3DC1-A26A-BD42-C60B0AE796EA}"/>
              </a:ext>
            </a:extLst>
          </p:cNvPr>
          <p:cNvSpPr/>
          <p:nvPr/>
        </p:nvSpPr>
        <p:spPr>
          <a:xfrm>
            <a:off x="7521552" y="1657535"/>
            <a:ext cx="2638409" cy="958084"/>
          </a:xfrm>
          <a:custGeom>
            <a:avLst/>
            <a:gdLst>
              <a:gd name="csX0" fmla="*/ 0 w 2638409"/>
              <a:gd name="csY0" fmla="*/ 95808 h 958084"/>
              <a:gd name="csX1" fmla="*/ 95808 w 2638409"/>
              <a:gd name="csY1" fmla="*/ 0 h 958084"/>
              <a:gd name="csX2" fmla="*/ 2542601 w 2638409"/>
              <a:gd name="csY2" fmla="*/ 0 h 958084"/>
              <a:gd name="csX3" fmla="*/ 2638409 w 2638409"/>
              <a:gd name="csY3" fmla="*/ 95808 h 958084"/>
              <a:gd name="csX4" fmla="*/ 2638409 w 2638409"/>
              <a:gd name="csY4" fmla="*/ 862276 h 958084"/>
              <a:gd name="csX5" fmla="*/ 2542601 w 2638409"/>
              <a:gd name="csY5" fmla="*/ 958084 h 958084"/>
              <a:gd name="csX6" fmla="*/ 95808 w 2638409"/>
              <a:gd name="csY6" fmla="*/ 958084 h 958084"/>
              <a:gd name="csX7" fmla="*/ 0 w 2638409"/>
              <a:gd name="csY7" fmla="*/ 862276 h 958084"/>
              <a:gd name="csX8" fmla="*/ 0 w 2638409"/>
              <a:gd name="csY8" fmla="*/ 95808 h 9580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2638409" h="958084">
                <a:moveTo>
                  <a:pt x="0" y="95808"/>
                </a:moveTo>
                <a:cubicBezTo>
                  <a:pt x="0" y="42895"/>
                  <a:pt x="42895" y="0"/>
                  <a:pt x="95808" y="0"/>
                </a:cubicBezTo>
                <a:lnTo>
                  <a:pt x="2542601" y="0"/>
                </a:lnTo>
                <a:cubicBezTo>
                  <a:pt x="2595514" y="0"/>
                  <a:pt x="2638409" y="42895"/>
                  <a:pt x="2638409" y="95808"/>
                </a:cubicBezTo>
                <a:lnTo>
                  <a:pt x="2638409" y="862276"/>
                </a:lnTo>
                <a:cubicBezTo>
                  <a:pt x="2638409" y="915189"/>
                  <a:pt x="2595514" y="958084"/>
                  <a:pt x="2542601" y="958084"/>
                </a:cubicBezTo>
                <a:lnTo>
                  <a:pt x="95808" y="958084"/>
                </a:lnTo>
                <a:cubicBezTo>
                  <a:pt x="42895" y="958084"/>
                  <a:pt x="0" y="915189"/>
                  <a:pt x="0" y="862276"/>
                </a:cubicBezTo>
                <a:lnTo>
                  <a:pt x="0" y="95808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6641" tIns="96641" rIns="96641" bIns="96641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lexible Connections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27A5A45F-377F-62DB-0354-EB149691E32C}"/>
              </a:ext>
            </a:extLst>
          </p:cNvPr>
          <p:cNvSpPr/>
          <p:nvPr/>
        </p:nvSpPr>
        <p:spPr>
          <a:xfrm>
            <a:off x="7521552" y="3007817"/>
            <a:ext cx="1266031" cy="704126"/>
          </a:xfrm>
          <a:custGeom>
            <a:avLst/>
            <a:gdLst>
              <a:gd name="csX0" fmla="*/ 0 w 1266031"/>
              <a:gd name="csY0" fmla="*/ 95808 h 958084"/>
              <a:gd name="csX1" fmla="*/ 95808 w 1266031"/>
              <a:gd name="csY1" fmla="*/ 0 h 958084"/>
              <a:gd name="csX2" fmla="*/ 1170223 w 1266031"/>
              <a:gd name="csY2" fmla="*/ 0 h 958084"/>
              <a:gd name="csX3" fmla="*/ 1266031 w 1266031"/>
              <a:gd name="csY3" fmla="*/ 95808 h 958084"/>
              <a:gd name="csX4" fmla="*/ 1266031 w 1266031"/>
              <a:gd name="csY4" fmla="*/ 862276 h 958084"/>
              <a:gd name="csX5" fmla="*/ 1170223 w 1266031"/>
              <a:gd name="csY5" fmla="*/ 958084 h 958084"/>
              <a:gd name="csX6" fmla="*/ 95808 w 1266031"/>
              <a:gd name="csY6" fmla="*/ 958084 h 958084"/>
              <a:gd name="csX7" fmla="*/ 0 w 1266031"/>
              <a:gd name="csY7" fmla="*/ 862276 h 958084"/>
              <a:gd name="csX8" fmla="*/ 0 w 1266031"/>
              <a:gd name="csY8" fmla="*/ 95808 h 9580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266031" h="958084">
                <a:moveTo>
                  <a:pt x="0" y="95808"/>
                </a:moveTo>
                <a:cubicBezTo>
                  <a:pt x="0" y="42895"/>
                  <a:pt x="42895" y="0"/>
                  <a:pt x="95808" y="0"/>
                </a:cubicBezTo>
                <a:lnTo>
                  <a:pt x="1170223" y="0"/>
                </a:lnTo>
                <a:cubicBezTo>
                  <a:pt x="1223136" y="0"/>
                  <a:pt x="1266031" y="42895"/>
                  <a:pt x="1266031" y="95808"/>
                </a:cubicBezTo>
                <a:lnTo>
                  <a:pt x="1266031" y="862276"/>
                </a:lnTo>
                <a:cubicBezTo>
                  <a:pt x="1266031" y="915189"/>
                  <a:pt x="1223136" y="958084"/>
                  <a:pt x="1170223" y="958084"/>
                </a:cubicBezTo>
                <a:lnTo>
                  <a:pt x="95808" y="958084"/>
                </a:lnTo>
                <a:cubicBezTo>
                  <a:pt x="42895" y="958084"/>
                  <a:pt x="0" y="915189"/>
                  <a:pt x="0" y="862276"/>
                </a:cubicBezTo>
                <a:lnTo>
                  <a:pt x="0" y="95808"/>
                </a:lnTo>
                <a:close/>
              </a:path>
            </a:pathLst>
          </a:custGeom>
          <a:solidFill>
            <a:schemeClr val="accent4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1401" tIns="81401" rIns="81401" bIns="81401" numCol="1" spcCol="1270" anchor="ctr" anchorCtr="0">
            <a:noAutofit/>
          </a:bodyPr>
          <a:lstStyle/>
          <a:p>
            <a:pPr marL="0" marR="0" lvl="0" indent="0" algn="ct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lar</a:t>
            </a: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919F9E85-65A4-A160-F38D-695875778815}"/>
              </a:ext>
            </a:extLst>
          </p:cNvPr>
          <p:cNvSpPr/>
          <p:nvPr/>
        </p:nvSpPr>
        <p:spPr>
          <a:xfrm>
            <a:off x="7521552" y="4104179"/>
            <a:ext cx="1266031" cy="704088"/>
          </a:xfrm>
          <a:custGeom>
            <a:avLst/>
            <a:gdLst>
              <a:gd name="csX0" fmla="*/ 0 w 1266031"/>
              <a:gd name="csY0" fmla="*/ 95808 h 958084"/>
              <a:gd name="csX1" fmla="*/ 95808 w 1266031"/>
              <a:gd name="csY1" fmla="*/ 0 h 958084"/>
              <a:gd name="csX2" fmla="*/ 1170223 w 1266031"/>
              <a:gd name="csY2" fmla="*/ 0 h 958084"/>
              <a:gd name="csX3" fmla="*/ 1266031 w 1266031"/>
              <a:gd name="csY3" fmla="*/ 95808 h 958084"/>
              <a:gd name="csX4" fmla="*/ 1266031 w 1266031"/>
              <a:gd name="csY4" fmla="*/ 862276 h 958084"/>
              <a:gd name="csX5" fmla="*/ 1170223 w 1266031"/>
              <a:gd name="csY5" fmla="*/ 958084 h 958084"/>
              <a:gd name="csX6" fmla="*/ 95808 w 1266031"/>
              <a:gd name="csY6" fmla="*/ 958084 h 958084"/>
              <a:gd name="csX7" fmla="*/ 0 w 1266031"/>
              <a:gd name="csY7" fmla="*/ 862276 h 958084"/>
              <a:gd name="csX8" fmla="*/ 0 w 1266031"/>
              <a:gd name="csY8" fmla="*/ 95808 h 9580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266031" h="958084">
                <a:moveTo>
                  <a:pt x="0" y="95808"/>
                </a:moveTo>
                <a:cubicBezTo>
                  <a:pt x="0" y="42895"/>
                  <a:pt x="42895" y="0"/>
                  <a:pt x="95808" y="0"/>
                </a:cubicBezTo>
                <a:lnTo>
                  <a:pt x="1170223" y="0"/>
                </a:lnTo>
                <a:cubicBezTo>
                  <a:pt x="1223136" y="0"/>
                  <a:pt x="1266031" y="42895"/>
                  <a:pt x="1266031" y="95808"/>
                </a:cubicBezTo>
                <a:lnTo>
                  <a:pt x="1266031" y="862276"/>
                </a:lnTo>
                <a:cubicBezTo>
                  <a:pt x="1266031" y="915189"/>
                  <a:pt x="1223136" y="958084"/>
                  <a:pt x="1170223" y="958084"/>
                </a:cubicBezTo>
                <a:lnTo>
                  <a:pt x="95808" y="958084"/>
                </a:lnTo>
                <a:cubicBezTo>
                  <a:pt x="42895" y="958084"/>
                  <a:pt x="0" y="915189"/>
                  <a:pt x="0" y="862276"/>
                </a:cubicBezTo>
                <a:lnTo>
                  <a:pt x="0" y="95808"/>
                </a:lnTo>
                <a:close/>
              </a:path>
            </a:pathLst>
          </a:custGeom>
          <a:solidFill>
            <a:srgbClr val="00B0F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1401" tIns="81401" rIns="81401" bIns="81401" numCol="1" spcCol="1270" anchor="ctr" anchorCtr="0">
            <a:noAutofit/>
          </a:bodyPr>
          <a:lstStyle/>
          <a:p>
            <a:pPr marL="0" marR="0" lvl="0" indent="0" algn="ct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s</a:t>
            </a: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2F92FE7F-5A75-0B2E-5E85-17870AD9BE84}"/>
              </a:ext>
            </a:extLst>
          </p:cNvPr>
          <p:cNvSpPr/>
          <p:nvPr/>
        </p:nvSpPr>
        <p:spPr>
          <a:xfrm>
            <a:off x="8893930" y="3007817"/>
            <a:ext cx="1266031" cy="704126"/>
          </a:xfrm>
          <a:custGeom>
            <a:avLst/>
            <a:gdLst>
              <a:gd name="csX0" fmla="*/ 0 w 1266031"/>
              <a:gd name="csY0" fmla="*/ 95808 h 958084"/>
              <a:gd name="csX1" fmla="*/ 95808 w 1266031"/>
              <a:gd name="csY1" fmla="*/ 0 h 958084"/>
              <a:gd name="csX2" fmla="*/ 1170223 w 1266031"/>
              <a:gd name="csY2" fmla="*/ 0 h 958084"/>
              <a:gd name="csX3" fmla="*/ 1266031 w 1266031"/>
              <a:gd name="csY3" fmla="*/ 95808 h 958084"/>
              <a:gd name="csX4" fmla="*/ 1266031 w 1266031"/>
              <a:gd name="csY4" fmla="*/ 862276 h 958084"/>
              <a:gd name="csX5" fmla="*/ 1170223 w 1266031"/>
              <a:gd name="csY5" fmla="*/ 958084 h 958084"/>
              <a:gd name="csX6" fmla="*/ 95808 w 1266031"/>
              <a:gd name="csY6" fmla="*/ 958084 h 958084"/>
              <a:gd name="csX7" fmla="*/ 0 w 1266031"/>
              <a:gd name="csY7" fmla="*/ 862276 h 958084"/>
              <a:gd name="csX8" fmla="*/ 0 w 1266031"/>
              <a:gd name="csY8" fmla="*/ 95808 h 9580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266031" h="958084">
                <a:moveTo>
                  <a:pt x="0" y="95808"/>
                </a:moveTo>
                <a:cubicBezTo>
                  <a:pt x="0" y="42895"/>
                  <a:pt x="42895" y="0"/>
                  <a:pt x="95808" y="0"/>
                </a:cubicBezTo>
                <a:lnTo>
                  <a:pt x="1170223" y="0"/>
                </a:lnTo>
                <a:cubicBezTo>
                  <a:pt x="1223136" y="0"/>
                  <a:pt x="1266031" y="42895"/>
                  <a:pt x="1266031" y="95808"/>
                </a:cubicBezTo>
                <a:lnTo>
                  <a:pt x="1266031" y="862276"/>
                </a:lnTo>
                <a:cubicBezTo>
                  <a:pt x="1266031" y="915189"/>
                  <a:pt x="1223136" y="958084"/>
                  <a:pt x="1170223" y="958084"/>
                </a:cubicBezTo>
                <a:lnTo>
                  <a:pt x="95808" y="958084"/>
                </a:lnTo>
                <a:cubicBezTo>
                  <a:pt x="42895" y="958084"/>
                  <a:pt x="0" y="915189"/>
                  <a:pt x="0" y="862276"/>
                </a:cubicBezTo>
                <a:lnTo>
                  <a:pt x="0" y="95808"/>
                </a:lnTo>
                <a:close/>
              </a:path>
            </a:pathLst>
          </a:custGeom>
          <a:solidFill>
            <a:schemeClr val="accent4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1401" tIns="81401" rIns="81401" bIns="81401" numCol="1" spcCol="1270" anchor="ctr" anchorCtr="0">
            <a:noAutofit/>
          </a:bodyPr>
          <a:lstStyle/>
          <a:p>
            <a:pPr marL="0" marR="0" lvl="0" indent="0" algn="ct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orage</a:t>
            </a: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3CB36414-CCD6-EC81-6CF5-3A1C338EE4A3}"/>
              </a:ext>
            </a:extLst>
          </p:cNvPr>
          <p:cNvSpPr/>
          <p:nvPr/>
        </p:nvSpPr>
        <p:spPr>
          <a:xfrm>
            <a:off x="8893930" y="4104179"/>
            <a:ext cx="1266031" cy="704088"/>
          </a:xfrm>
          <a:custGeom>
            <a:avLst/>
            <a:gdLst>
              <a:gd name="csX0" fmla="*/ 0 w 1266031"/>
              <a:gd name="csY0" fmla="*/ 95808 h 958084"/>
              <a:gd name="csX1" fmla="*/ 95808 w 1266031"/>
              <a:gd name="csY1" fmla="*/ 0 h 958084"/>
              <a:gd name="csX2" fmla="*/ 1170223 w 1266031"/>
              <a:gd name="csY2" fmla="*/ 0 h 958084"/>
              <a:gd name="csX3" fmla="*/ 1266031 w 1266031"/>
              <a:gd name="csY3" fmla="*/ 95808 h 958084"/>
              <a:gd name="csX4" fmla="*/ 1266031 w 1266031"/>
              <a:gd name="csY4" fmla="*/ 862276 h 958084"/>
              <a:gd name="csX5" fmla="*/ 1170223 w 1266031"/>
              <a:gd name="csY5" fmla="*/ 958084 h 958084"/>
              <a:gd name="csX6" fmla="*/ 95808 w 1266031"/>
              <a:gd name="csY6" fmla="*/ 958084 h 958084"/>
              <a:gd name="csX7" fmla="*/ 0 w 1266031"/>
              <a:gd name="csY7" fmla="*/ 862276 h 958084"/>
              <a:gd name="csX8" fmla="*/ 0 w 1266031"/>
              <a:gd name="csY8" fmla="*/ 95808 h 9580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266031" h="958084">
                <a:moveTo>
                  <a:pt x="0" y="95808"/>
                </a:moveTo>
                <a:cubicBezTo>
                  <a:pt x="0" y="42895"/>
                  <a:pt x="42895" y="0"/>
                  <a:pt x="95808" y="0"/>
                </a:cubicBezTo>
                <a:lnTo>
                  <a:pt x="1170223" y="0"/>
                </a:lnTo>
                <a:cubicBezTo>
                  <a:pt x="1223136" y="0"/>
                  <a:pt x="1266031" y="42895"/>
                  <a:pt x="1266031" y="95808"/>
                </a:cubicBezTo>
                <a:lnTo>
                  <a:pt x="1266031" y="862276"/>
                </a:lnTo>
                <a:cubicBezTo>
                  <a:pt x="1266031" y="915189"/>
                  <a:pt x="1223136" y="958084"/>
                  <a:pt x="1170223" y="958084"/>
                </a:cubicBezTo>
                <a:lnTo>
                  <a:pt x="95808" y="958084"/>
                </a:lnTo>
                <a:cubicBezTo>
                  <a:pt x="42895" y="958084"/>
                  <a:pt x="0" y="915189"/>
                  <a:pt x="0" y="862276"/>
                </a:cubicBezTo>
                <a:lnTo>
                  <a:pt x="0" y="95808"/>
                </a:lnTo>
                <a:close/>
              </a:path>
            </a:pathLst>
          </a:custGeom>
          <a:solidFill>
            <a:srgbClr val="00B0F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1401" tIns="81401" rIns="81401" bIns="81401" numCol="1" spcCol="1270" anchor="ctr" anchorCtr="0">
            <a:noAutofit/>
          </a:bodyPr>
          <a:lstStyle/>
          <a:p>
            <a:pPr marL="0" marR="0" lvl="0" indent="0" algn="ct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ad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A55F2B8-0FAB-2E5F-7A84-21E1772CA5FD}"/>
              </a:ext>
            </a:extLst>
          </p:cNvPr>
          <p:cNvGrpSpPr/>
          <p:nvPr/>
        </p:nvGrpSpPr>
        <p:grpSpPr>
          <a:xfrm>
            <a:off x="2032001" y="4988991"/>
            <a:ext cx="8127999" cy="450439"/>
            <a:chOff x="39" y="805"/>
            <a:chExt cx="5276818" cy="1230760"/>
          </a:xfrm>
          <a:solidFill>
            <a:srgbClr val="7F7F7F"/>
          </a:solidFill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C19544C6-A63D-8938-A005-3AB0798D19D2}"/>
                </a:ext>
              </a:extLst>
            </p:cNvPr>
            <p:cNvSpPr/>
            <p:nvPr/>
          </p:nvSpPr>
          <p:spPr>
            <a:xfrm>
              <a:off x="39" y="805"/>
              <a:ext cx="5276818" cy="1230760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Rectangle: Rounded Corners 4">
              <a:extLst>
                <a:ext uri="{FF2B5EF4-FFF2-40B4-BE49-F238E27FC236}">
                  <a16:creationId xmlns:a16="http://schemas.microsoft.com/office/drawing/2014/main" id="{D5FA035A-00B1-4AF4-5379-FB8D5089CC79}"/>
                </a:ext>
              </a:extLst>
            </p:cNvPr>
            <p:cNvSpPr txBox="1"/>
            <p:nvPr/>
          </p:nvSpPr>
          <p:spPr>
            <a:xfrm>
              <a:off x="36087" y="36853"/>
              <a:ext cx="5204722" cy="1158664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SO Capabilities</a:t>
              </a:r>
            </a:p>
          </p:txBody>
        </p:sp>
      </p:grp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7D231396-96A4-0D79-2BAC-9C578B03975A}"/>
              </a:ext>
            </a:extLst>
          </p:cNvPr>
          <p:cNvSpPr/>
          <p:nvPr/>
        </p:nvSpPr>
        <p:spPr>
          <a:xfrm>
            <a:off x="1802781" y="1505415"/>
            <a:ext cx="8586439" cy="3454973"/>
          </a:xfrm>
          <a:prstGeom prst="roundRect">
            <a:avLst/>
          </a:prstGeom>
          <a:noFill/>
          <a:ln w="3810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D78EDE0-45F8-BDE5-0D70-A51FA3BDBC0B}"/>
              </a:ext>
            </a:extLst>
          </p:cNvPr>
          <p:cNvSpPr txBox="1"/>
          <p:nvPr/>
        </p:nvSpPr>
        <p:spPr>
          <a:xfrm>
            <a:off x="2269011" y="1235697"/>
            <a:ext cx="1522404" cy="29074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A46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id Flexibility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54079A6E-0AFD-C377-66BF-7FBBAACCFB40}"/>
              </a:ext>
            </a:extLst>
          </p:cNvPr>
          <p:cNvSpPr/>
          <p:nvPr/>
        </p:nvSpPr>
        <p:spPr>
          <a:xfrm>
            <a:off x="7529834" y="2754862"/>
            <a:ext cx="2638409" cy="230339"/>
          </a:xfrm>
          <a:custGeom>
            <a:avLst/>
            <a:gdLst>
              <a:gd name="csX0" fmla="*/ 0 w 2638409"/>
              <a:gd name="csY0" fmla="*/ 95808 h 958084"/>
              <a:gd name="csX1" fmla="*/ 95808 w 2638409"/>
              <a:gd name="csY1" fmla="*/ 0 h 958084"/>
              <a:gd name="csX2" fmla="*/ 2542601 w 2638409"/>
              <a:gd name="csY2" fmla="*/ 0 h 958084"/>
              <a:gd name="csX3" fmla="*/ 2638409 w 2638409"/>
              <a:gd name="csY3" fmla="*/ 95808 h 958084"/>
              <a:gd name="csX4" fmla="*/ 2638409 w 2638409"/>
              <a:gd name="csY4" fmla="*/ 862276 h 958084"/>
              <a:gd name="csX5" fmla="*/ 2542601 w 2638409"/>
              <a:gd name="csY5" fmla="*/ 958084 h 958084"/>
              <a:gd name="csX6" fmla="*/ 95808 w 2638409"/>
              <a:gd name="csY6" fmla="*/ 958084 h 958084"/>
              <a:gd name="csX7" fmla="*/ 0 w 2638409"/>
              <a:gd name="csY7" fmla="*/ 862276 h 958084"/>
              <a:gd name="csX8" fmla="*/ 0 w 2638409"/>
              <a:gd name="csY8" fmla="*/ 95808 h 9580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2638409" h="958084">
                <a:moveTo>
                  <a:pt x="0" y="95808"/>
                </a:moveTo>
                <a:cubicBezTo>
                  <a:pt x="0" y="42895"/>
                  <a:pt x="42895" y="0"/>
                  <a:pt x="95808" y="0"/>
                </a:cubicBezTo>
                <a:lnTo>
                  <a:pt x="2542601" y="0"/>
                </a:lnTo>
                <a:cubicBezTo>
                  <a:pt x="2595514" y="0"/>
                  <a:pt x="2638409" y="42895"/>
                  <a:pt x="2638409" y="95808"/>
                </a:cubicBezTo>
                <a:lnTo>
                  <a:pt x="2638409" y="862276"/>
                </a:lnTo>
                <a:cubicBezTo>
                  <a:pt x="2638409" y="915189"/>
                  <a:pt x="2595514" y="958084"/>
                  <a:pt x="2542601" y="958084"/>
                </a:cubicBezTo>
                <a:lnTo>
                  <a:pt x="95808" y="958084"/>
                </a:lnTo>
                <a:cubicBezTo>
                  <a:pt x="42895" y="958084"/>
                  <a:pt x="0" y="915189"/>
                  <a:pt x="0" y="862276"/>
                </a:cubicBezTo>
                <a:lnTo>
                  <a:pt x="0" y="95808"/>
                </a:lnTo>
                <a:close/>
              </a:path>
            </a:pathLst>
          </a:custGeom>
          <a:solidFill>
            <a:schemeClr val="accent4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6641" tIns="96641" rIns="96641" bIns="96641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G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C08A65C8-A9D1-D2C6-E191-6C0298F1E57F}"/>
              </a:ext>
            </a:extLst>
          </p:cNvPr>
          <p:cNvSpPr/>
          <p:nvPr/>
        </p:nvSpPr>
        <p:spPr>
          <a:xfrm>
            <a:off x="7529834" y="3850183"/>
            <a:ext cx="2638409" cy="230339"/>
          </a:xfrm>
          <a:custGeom>
            <a:avLst/>
            <a:gdLst>
              <a:gd name="csX0" fmla="*/ 0 w 2638409"/>
              <a:gd name="csY0" fmla="*/ 95808 h 958084"/>
              <a:gd name="csX1" fmla="*/ 95808 w 2638409"/>
              <a:gd name="csY1" fmla="*/ 0 h 958084"/>
              <a:gd name="csX2" fmla="*/ 2542601 w 2638409"/>
              <a:gd name="csY2" fmla="*/ 0 h 958084"/>
              <a:gd name="csX3" fmla="*/ 2638409 w 2638409"/>
              <a:gd name="csY3" fmla="*/ 95808 h 958084"/>
              <a:gd name="csX4" fmla="*/ 2638409 w 2638409"/>
              <a:gd name="csY4" fmla="*/ 862276 h 958084"/>
              <a:gd name="csX5" fmla="*/ 2542601 w 2638409"/>
              <a:gd name="csY5" fmla="*/ 958084 h 958084"/>
              <a:gd name="csX6" fmla="*/ 95808 w 2638409"/>
              <a:gd name="csY6" fmla="*/ 958084 h 958084"/>
              <a:gd name="csX7" fmla="*/ 0 w 2638409"/>
              <a:gd name="csY7" fmla="*/ 862276 h 958084"/>
              <a:gd name="csX8" fmla="*/ 0 w 2638409"/>
              <a:gd name="csY8" fmla="*/ 95808 h 9580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2638409" h="958084">
                <a:moveTo>
                  <a:pt x="0" y="95808"/>
                </a:moveTo>
                <a:cubicBezTo>
                  <a:pt x="0" y="42895"/>
                  <a:pt x="42895" y="0"/>
                  <a:pt x="95808" y="0"/>
                </a:cubicBezTo>
                <a:lnTo>
                  <a:pt x="2542601" y="0"/>
                </a:lnTo>
                <a:cubicBezTo>
                  <a:pt x="2595514" y="0"/>
                  <a:pt x="2638409" y="42895"/>
                  <a:pt x="2638409" y="95808"/>
                </a:cubicBezTo>
                <a:lnTo>
                  <a:pt x="2638409" y="862276"/>
                </a:lnTo>
                <a:cubicBezTo>
                  <a:pt x="2638409" y="915189"/>
                  <a:pt x="2595514" y="958084"/>
                  <a:pt x="2542601" y="958084"/>
                </a:cubicBezTo>
                <a:lnTo>
                  <a:pt x="95808" y="958084"/>
                </a:lnTo>
                <a:cubicBezTo>
                  <a:pt x="42895" y="958084"/>
                  <a:pt x="0" y="915189"/>
                  <a:pt x="0" y="862276"/>
                </a:cubicBezTo>
                <a:lnTo>
                  <a:pt x="0" y="95808"/>
                </a:lnTo>
                <a:close/>
              </a:path>
            </a:pathLst>
          </a:custGeom>
          <a:solidFill>
            <a:srgbClr val="00B0F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6641" tIns="96641" rIns="96641" bIns="96641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ad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9C9FFD80-7CF4-EFCA-02CC-8DEC24733DBE}"/>
              </a:ext>
            </a:extLst>
          </p:cNvPr>
          <p:cNvSpPr/>
          <p:nvPr/>
        </p:nvSpPr>
        <p:spPr>
          <a:xfrm>
            <a:off x="3351244" y="4360211"/>
            <a:ext cx="1266031" cy="448056"/>
          </a:xfrm>
          <a:custGeom>
            <a:avLst/>
            <a:gdLst>
              <a:gd name="csX0" fmla="*/ 0 w 1266031"/>
              <a:gd name="csY0" fmla="*/ 95808 h 958084"/>
              <a:gd name="csX1" fmla="*/ 95808 w 1266031"/>
              <a:gd name="csY1" fmla="*/ 0 h 958084"/>
              <a:gd name="csX2" fmla="*/ 1170223 w 1266031"/>
              <a:gd name="csY2" fmla="*/ 0 h 958084"/>
              <a:gd name="csX3" fmla="*/ 1266031 w 1266031"/>
              <a:gd name="csY3" fmla="*/ 95808 h 958084"/>
              <a:gd name="csX4" fmla="*/ 1266031 w 1266031"/>
              <a:gd name="csY4" fmla="*/ 862276 h 958084"/>
              <a:gd name="csX5" fmla="*/ 1170223 w 1266031"/>
              <a:gd name="csY5" fmla="*/ 958084 h 958084"/>
              <a:gd name="csX6" fmla="*/ 95808 w 1266031"/>
              <a:gd name="csY6" fmla="*/ 958084 h 958084"/>
              <a:gd name="csX7" fmla="*/ 0 w 1266031"/>
              <a:gd name="csY7" fmla="*/ 862276 h 958084"/>
              <a:gd name="csX8" fmla="*/ 0 w 1266031"/>
              <a:gd name="csY8" fmla="*/ 95808 h 9580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266031" h="958084">
                <a:moveTo>
                  <a:pt x="0" y="95808"/>
                </a:moveTo>
                <a:cubicBezTo>
                  <a:pt x="0" y="42895"/>
                  <a:pt x="42895" y="0"/>
                  <a:pt x="95808" y="0"/>
                </a:cubicBezTo>
                <a:lnTo>
                  <a:pt x="1170223" y="0"/>
                </a:lnTo>
                <a:cubicBezTo>
                  <a:pt x="1223136" y="0"/>
                  <a:pt x="1266031" y="42895"/>
                  <a:pt x="1266031" y="95808"/>
                </a:cubicBezTo>
                <a:lnTo>
                  <a:pt x="1266031" y="862276"/>
                </a:lnTo>
                <a:cubicBezTo>
                  <a:pt x="1266031" y="915189"/>
                  <a:pt x="1223136" y="958084"/>
                  <a:pt x="1170223" y="958084"/>
                </a:cubicBezTo>
                <a:lnTo>
                  <a:pt x="95808" y="958084"/>
                </a:lnTo>
                <a:cubicBezTo>
                  <a:pt x="42895" y="958084"/>
                  <a:pt x="0" y="915189"/>
                  <a:pt x="0" y="862276"/>
                </a:cubicBezTo>
                <a:lnTo>
                  <a:pt x="0" y="95808"/>
                </a:lnTo>
                <a:close/>
              </a:path>
            </a:pathLst>
          </a:custGeom>
          <a:solidFill>
            <a:schemeClr val="accent5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1401" tIns="81401" rIns="81401" bIns="81401" numCol="1" spcCol="1270" anchor="ctr" anchorCtr="0">
            <a:noAutofit/>
          </a:bodyPr>
          <a:lstStyle/>
          <a:p>
            <a:pPr marL="0" marR="0" lvl="0" indent="0" algn="ct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tility-Owned </a:t>
            </a:r>
            <a:r>
              <a:rPr lang="en-US" sz="1200" b="1" dirty="0">
                <a:solidFill>
                  <a:srgbClr val="FFFFFF"/>
                </a:solidFill>
                <a:latin typeface="Arial"/>
              </a:rPr>
              <a:t>S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rage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B18E382-DAD0-4418-89F6-89E162108E4B}"/>
              </a:ext>
            </a:extLst>
          </p:cNvPr>
          <p:cNvGrpSpPr/>
          <p:nvPr/>
        </p:nvGrpSpPr>
        <p:grpSpPr>
          <a:xfrm>
            <a:off x="2040244" y="5523609"/>
            <a:ext cx="8127999" cy="450439"/>
            <a:chOff x="39" y="805"/>
            <a:chExt cx="5276818" cy="1230760"/>
          </a:xfrm>
          <a:solidFill>
            <a:schemeClr val="accent6">
              <a:lumMod val="75000"/>
            </a:schemeClr>
          </a:solidFill>
        </p:grpSpPr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8896E7D3-5688-90E0-BAF8-B3065C6684AD}"/>
                </a:ext>
              </a:extLst>
            </p:cNvPr>
            <p:cNvSpPr/>
            <p:nvPr/>
          </p:nvSpPr>
          <p:spPr>
            <a:xfrm>
              <a:off x="39" y="805"/>
              <a:ext cx="5276818" cy="1230760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Rectangle: Rounded Corners 4">
              <a:extLst>
                <a:ext uri="{FF2B5EF4-FFF2-40B4-BE49-F238E27FC236}">
                  <a16:creationId xmlns:a16="http://schemas.microsoft.com/office/drawing/2014/main" id="{1F018405-A8C0-00A8-FB4B-9F9961C99644}"/>
                </a:ext>
              </a:extLst>
            </p:cNvPr>
            <p:cNvSpPr txBox="1"/>
            <p:nvPr/>
          </p:nvSpPr>
          <p:spPr>
            <a:xfrm>
              <a:off x="36087" y="36853"/>
              <a:ext cx="5204722" cy="1158664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MI-enabled Rate Desig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654923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C1B36F-C1AA-E0FA-04EE-A56EBEFF61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110D8CD-C50F-8EBC-70B8-E518C047E69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5" y="248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5" imgH="312" progId="TCLayout.ActiveDocument.1">
                  <p:embed/>
                </p:oleObj>
              </mc:Choice>
              <mc:Fallback>
                <p:oleObj name="think-cell Slide" r:id="rId5" imgW="305" imgH="31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10D8CD-C50F-8EBC-70B8-E518C047E6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5" y="248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2">
            <a:extLst>
              <a:ext uri="{FF2B5EF4-FFF2-40B4-BE49-F238E27FC236}">
                <a16:creationId xmlns:a16="http://schemas.microsoft.com/office/drawing/2014/main" id="{99C1A23F-12B3-C0A9-C10F-F50D6775E6A4}"/>
              </a:ext>
            </a:extLst>
          </p:cNvPr>
          <p:cNvSpPr txBox="1">
            <a:spLocks/>
          </p:cNvSpPr>
          <p:nvPr/>
        </p:nvSpPr>
        <p:spPr>
          <a:xfrm>
            <a:off x="257825" y="78085"/>
            <a:ext cx="11536908" cy="574516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5pPr>
            <a:lvl6pPr marL="342857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6pPr>
            <a:lvl7pPr marL="685715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7pPr>
            <a:lvl8pPr marL="1028573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8pPr>
            <a:lvl9pPr marL="1371430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We are building out grid </a:t>
            </a:r>
            <a:r>
              <a:rPr lang="en-US" sz="3200" dirty="0">
                <a:solidFill>
                  <a:srgbClr val="00148C"/>
                </a:solidFill>
                <a:latin typeface="Arial"/>
              </a:rPr>
              <a:t>s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ervice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offerings for customers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903818D-1B5F-FC9F-E569-330E248F83DB}"/>
              </a:ext>
            </a:extLst>
          </p:cNvPr>
          <p:cNvSpPr txBox="1"/>
          <p:nvPr/>
        </p:nvSpPr>
        <p:spPr>
          <a:xfrm>
            <a:off x="311028" y="628129"/>
            <a:ext cx="11717421" cy="54308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+mn-ea"/>
                <a:cs typeface="Segoe UI" panose="020B0502040204020203" pitchFamily="34" charset="0"/>
              </a:rPr>
              <a:t>The $50M Grid Services Compensation Fund under National Grid’s ESMP enables dispatchable DERs to meet local electric network constraints as Non-Wires Alternatives or Deferral / Bridge-to-Wires solutions.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A351FBC-9137-56E0-9917-0AED5BAA7EAC}"/>
              </a:ext>
            </a:extLst>
          </p:cNvPr>
          <p:cNvSpPr txBox="1"/>
          <p:nvPr/>
        </p:nvSpPr>
        <p:spPr>
          <a:xfrm rot="16200000">
            <a:off x="-144050" y="3673849"/>
            <a:ext cx="2045157" cy="39175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rrent Offering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FA3BBBC-DC1B-9501-B59A-01E1AEBD1B1C}"/>
              </a:ext>
            </a:extLst>
          </p:cNvPr>
          <p:cNvSpPr txBox="1"/>
          <p:nvPr/>
        </p:nvSpPr>
        <p:spPr>
          <a:xfrm>
            <a:off x="-2467179" y="7450117"/>
            <a:ext cx="1920240" cy="43840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ture Outcomes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6F39DDBD-CD1B-96E4-30B1-FF072DA9356B}"/>
              </a:ext>
            </a:extLst>
          </p:cNvPr>
          <p:cNvGrpSpPr/>
          <p:nvPr/>
        </p:nvGrpSpPr>
        <p:grpSpPr>
          <a:xfrm>
            <a:off x="1078622" y="1461480"/>
            <a:ext cx="4727448" cy="2282612"/>
            <a:chOff x="2309491" y="1452532"/>
            <a:chExt cx="4696330" cy="2282612"/>
          </a:xfrm>
        </p:grpSpPr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6495BB44-5F0D-2A71-D098-B8095106678A}"/>
                </a:ext>
              </a:extLst>
            </p:cNvPr>
            <p:cNvSpPr/>
            <p:nvPr/>
          </p:nvSpPr>
          <p:spPr>
            <a:xfrm>
              <a:off x="2309491" y="1452532"/>
              <a:ext cx="4696330" cy="2282612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EDEE66C4-8876-614E-65F9-DD9FCDBB04F4}"/>
                </a:ext>
              </a:extLst>
            </p:cNvPr>
            <p:cNvSpPr txBox="1"/>
            <p:nvPr/>
          </p:nvSpPr>
          <p:spPr>
            <a:xfrm>
              <a:off x="2476512" y="1672015"/>
              <a:ext cx="4362289" cy="1843646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6350">
              <a:noFill/>
              <a:miter lim="800000"/>
            </a:ln>
          </p:spPr>
          <p:txBody>
            <a:bodyPr vert="horz" wrap="square" lIns="0" tIns="0" rIns="0" bIns="0" rtlCol="0">
              <a:noAutofit/>
            </a:bodyPr>
            <a:lstStyle/>
            <a:p>
              <a:pPr marL="0" marR="0" lvl="0" indent="0" algn="ctr" defTabSz="914400" rtl="0" eaLnBrk="1" fontAlgn="t" latinLnBrk="0" hangingPunct="1">
                <a:lnSpc>
                  <a:spcPts val="15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148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arket-Based RFPs for Grid Services</a:t>
              </a: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t" latinLnBrk="0" hangingPunct="1">
                <a:lnSpc>
                  <a:spcPts val="15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148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atest RFP included </a:t>
              </a: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148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3 MA locations 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148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eking grid services to address network needs (vs. typical 1‑location RFPs)</a:t>
              </a:r>
            </a:p>
            <a:p>
              <a:pPr marL="285750" marR="0" lvl="0" indent="-285750" algn="l" defTabSz="914400" rtl="0" eaLnBrk="1" fontAlgn="t" latinLnBrk="0" hangingPunct="1">
                <a:lnSpc>
                  <a:spcPts val="15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148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‑month bid evaluation turnaround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148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 significantly faster than the typical 6‑month process</a:t>
              </a:r>
            </a:p>
            <a:p>
              <a:pPr marL="285750" marR="0" lvl="0" indent="-285750" algn="l" defTabSz="914400" rtl="0" eaLnBrk="1" fontAlgn="t" latinLnBrk="0" hangingPunct="1">
                <a:lnSpc>
                  <a:spcPts val="15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148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7 locations moving to vendor contracts 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148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or grid relief via FTM and BTM batteries and smart thermostats</a:t>
              </a: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5C42D440-4C04-5C83-256D-2C10001B180B}"/>
              </a:ext>
            </a:extLst>
          </p:cNvPr>
          <p:cNvGrpSpPr/>
          <p:nvPr/>
        </p:nvGrpSpPr>
        <p:grpSpPr>
          <a:xfrm>
            <a:off x="1086684" y="3977536"/>
            <a:ext cx="4723437" cy="2286000"/>
            <a:chOff x="7180956" y="1450045"/>
            <a:chExt cx="4723437" cy="2286000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2131114A-57FA-BF17-4B1F-A52ED5DA5527}"/>
                </a:ext>
              </a:extLst>
            </p:cNvPr>
            <p:cNvGrpSpPr/>
            <p:nvPr/>
          </p:nvGrpSpPr>
          <p:grpSpPr>
            <a:xfrm>
              <a:off x="7180956" y="1450045"/>
              <a:ext cx="4700016" cy="2286000"/>
              <a:chOff x="7178818" y="1446722"/>
              <a:chExt cx="4700016" cy="2286000"/>
            </a:xfrm>
          </p:grpSpPr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1DBA35E8-23A7-9AEA-4980-84CB130046D7}"/>
                  </a:ext>
                </a:extLst>
              </p:cNvPr>
              <p:cNvSpPr/>
              <p:nvPr/>
            </p:nvSpPr>
            <p:spPr>
              <a:xfrm>
                <a:off x="7178818" y="1446722"/>
                <a:ext cx="4700016" cy="2286000"/>
              </a:xfrm>
              <a:prstGeom prst="rect">
                <a:avLst/>
              </a:prstGeom>
              <a:solidFill>
                <a:srgbClr val="B5C0FF">
                  <a:alpha val="81176"/>
                </a:srgbClr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4165F758-233A-486A-67EA-48673C2B3859}"/>
                  </a:ext>
                </a:extLst>
              </p:cNvPr>
              <p:cNvSpPr txBox="1"/>
              <p:nvPr/>
            </p:nvSpPr>
            <p:spPr>
              <a:xfrm>
                <a:off x="7347982" y="1666178"/>
                <a:ext cx="4361688" cy="1847088"/>
              </a:xfrm>
              <a:prstGeom prst="rect">
                <a:avLst/>
              </a:prstGeom>
              <a:ln w="6350">
                <a:noFill/>
                <a:miter lim="800000"/>
              </a:ln>
            </p:spPr>
            <p:txBody>
              <a:bodyPr vert="horz" wrap="square" lIns="0" tIns="0" rIns="0" bIns="0" rtlCol="0" anchor="t">
                <a:noAutofit/>
              </a:bodyPr>
              <a:lstStyle/>
              <a:p>
                <a:pPr marL="0" marR="0" lvl="0" indent="0" algn="ctr" defTabSz="914400" rtl="0" eaLnBrk="1" fontAlgn="t" latinLnBrk="0" hangingPunct="1">
                  <a:lnSpc>
                    <a:spcPts val="15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148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onnectedSolutions</a:t>
                </a: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148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+</a:t>
                </a: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148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pPr marL="285750" marR="0" lvl="0" indent="-285750" algn="l" defTabSz="914400" rtl="0" eaLnBrk="1" fontAlgn="t" latinLnBrk="0" hangingPunct="1">
                  <a:lnSpc>
                    <a:spcPts val="15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148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Incremental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148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, </a:t>
                </a: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148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localized incentives 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148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overlaid on top of the core 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148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onnectedSolutions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148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program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148C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  <a:p>
                <a:pPr marL="285750" marR="0" lvl="0" indent="-285750" algn="l" defTabSz="914400" rtl="0" eaLnBrk="1" fontAlgn="t" latinLnBrk="0" hangingPunct="1">
                  <a:lnSpc>
                    <a:spcPts val="15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148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First Northeast utility 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148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to launch local DR program</a:t>
                </a:r>
              </a:p>
              <a:p>
                <a:pPr marL="285750" marR="0" lvl="0" indent="-285750" algn="l" defTabSz="914400" rtl="0" eaLnBrk="1" fontAlgn="t" latinLnBrk="0" hangingPunct="1">
                  <a:lnSpc>
                    <a:spcPts val="15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148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urrently being used as a template 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148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for other utility local DR pilots</a:t>
                </a:r>
              </a:p>
              <a:p>
                <a:pPr marL="285750" marR="0" lvl="0" indent="-285750" algn="l" defTabSz="914400" rtl="0" eaLnBrk="1" fontAlgn="t" latinLnBrk="0" hangingPunct="1">
                  <a:lnSpc>
                    <a:spcPts val="15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148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Offered in 3 MA towns 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148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ith plans to expand to ~10 more locations in Summer 2026</a:t>
                </a:r>
              </a:p>
              <a:p>
                <a:pPr marL="285750" marR="0" lvl="0" indent="-285750" algn="l" defTabSz="914400" rtl="0" eaLnBrk="1" fontAlgn="t" latinLnBrk="0" hangingPunct="1">
                  <a:lnSpc>
                    <a:spcPts val="15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148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9D34B7D4-EDB0-0B35-6FC6-3EF3C604ECC0}"/>
                </a:ext>
              </a:extLst>
            </p:cNvPr>
            <p:cNvSpPr txBox="1"/>
            <p:nvPr/>
          </p:nvSpPr>
          <p:spPr>
            <a:xfrm>
              <a:off x="7236903" y="3213528"/>
              <a:ext cx="4667490" cy="499831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square" lIns="0" tIns="0" rIns="0" bIns="0" rtlCol="0">
              <a:noAutofit/>
            </a:bodyPr>
            <a:lstStyle/>
            <a:p>
              <a:pPr marL="0" marR="0" lvl="0" indent="0" algn="ctr" defTabSz="914400" rtl="0" eaLnBrk="1" fontAlgn="t" latinLnBrk="0" hangingPunct="1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148C"/>
                </a:solidFill>
                <a:effectLst/>
                <a:highlight>
                  <a:srgbClr val="FFFF00"/>
                </a:highlight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DBE599A3-57E7-577A-110D-57F08C94AE67}"/>
              </a:ext>
            </a:extLst>
          </p:cNvPr>
          <p:cNvGrpSpPr/>
          <p:nvPr/>
        </p:nvGrpSpPr>
        <p:grpSpPr>
          <a:xfrm>
            <a:off x="6860036" y="3978522"/>
            <a:ext cx="4700016" cy="2286000"/>
            <a:chOff x="7180956" y="3858205"/>
            <a:chExt cx="4700016" cy="2286000"/>
          </a:xfrm>
        </p:grpSpPr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74B3D8FB-2D4E-23DC-1990-B4F4DCBCAB02}"/>
                </a:ext>
              </a:extLst>
            </p:cNvPr>
            <p:cNvGrpSpPr/>
            <p:nvPr/>
          </p:nvGrpSpPr>
          <p:grpSpPr>
            <a:xfrm>
              <a:off x="7180956" y="3858205"/>
              <a:ext cx="4700016" cy="2286000"/>
              <a:chOff x="7206525" y="3831208"/>
              <a:chExt cx="4700016" cy="2286000"/>
            </a:xfrm>
          </p:grpSpPr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9AE03AA6-6943-CAC5-CD35-DDA73450E6F1}"/>
                  </a:ext>
                </a:extLst>
              </p:cNvPr>
              <p:cNvSpPr/>
              <p:nvPr/>
            </p:nvSpPr>
            <p:spPr>
              <a:xfrm>
                <a:off x="7206525" y="3831208"/>
                <a:ext cx="4700016" cy="2286000"/>
              </a:xfrm>
              <a:prstGeom prst="rect">
                <a:avLst/>
              </a:prstGeom>
              <a:solidFill>
                <a:schemeClr val="tx2">
                  <a:lumMod val="95000"/>
                </a:schemeClr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6FEE1F4A-8021-5452-CC1D-80708ECA7378}"/>
                  </a:ext>
                </a:extLst>
              </p:cNvPr>
              <p:cNvSpPr txBox="1"/>
              <p:nvPr/>
            </p:nvSpPr>
            <p:spPr>
              <a:xfrm>
                <a:off x="7418245" y="4142907"/>
                <a:ext cx="4276576" cy="1662603"/>
              </a:xfrm>
              <a:prstGeom prst="rect">
                <a:avLst/>
              </a:prstGeom>
              <a:ln w="6350">
                <a:noFill/>
                <a:miter lim="800000"/>
              </a:ln>
            </p:spPr>
            <p:txBody>
              <a:bodyPr vert="horz" wrap="square" lIns="0" tIns="0" rIns="0" bIns="0" rtlCol="0" anchor="t">
                <a:noAutofit/>
              </a:bodyPr>
              <a:lstStyle/>
              <a:p>
                <a:pPr marL="0" marR="0" lvl="0" indent="0" algn="ctr" defTabSz="914400" rtl="0" eaLnBrk="1" fontAlgn="t" latinLnBrk="0" hangingPunct="1">
                  <a:lnSpc>
                    <a:spcPts val="15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148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ll Electric New Construction Building-to-Grid</a:t>
                </a:r>
              </a:p>
              <a:p>
                <a:pPr marL="285750" marR="0" lvl="0" indent="-285750" algn="l" defTabSz="914400" rtl="0" eaLnBrk="1" fontAlgn="t" latinLnBrk="0" hangingPunct="1">
                  <a:lnSpc>
                    <a:spcPts val="15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0148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artner with all-electric multifamily and C&amp;I building(s) </a:t>
                </a:r>
                <a:r>
                  <a: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148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to serve as flexible energy resources</a:t>
                </a:r>
              </a:p>
              <a:p>
                <a:pPr marL="285750" marR="0" lvl="0" indent="-285750" algn="l" defTabSz="914400" rtl="0" eaLnBrk="1" fontAlgn="t" latinLnBrk="0" hangingPunct="1">
                  <a:lnSpc>
                    <a:spcPts val="15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148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able automated dispatch to </a:t>
                </a:r>
                <a:r>
                  <a:rPr kumimoji="0" lang="en-US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0148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upport flexible connections </a:t>
                </a:r>
                <a:r>
                  <a: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148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on constrained distribution infrastructure​</a:t>
                </a: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148C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  <a:p>
                <a:pPr marL="285750" marR="0" lvl="0" indent="-285750" algn="l" defTabSz="914400" rtl="0" eaLnBrk="1" fontAlgn="t" latinLnBrk="0" hangingPunct="1">
                  <a:lnSpc>
                    <a:spcPts val="15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148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courage </a:t>
                </a:r>
                <a:r>
                  <a:rPr kumimoji="0" lang="en-US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0148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ctive customer participation </a:t>
                </a:r>
                <a:r>
                  <a: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148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in providing grid relief and decreasing energy bills </a:t>
                </a:r>
              </a:p>
            </p:txBody>
          </p: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A5C3ADF8-66B0-FD32-6817-7D520FAA3E3C}"/>
                </a:ext>
              </a:extLst>
            </p:cNvPr>
            <p:cNvGrpSpPr/>
            <p:nvPr/>
          </p:nvGrpSpPr>
          <p:grpSpPr>
            <a:xfrm>
              <a:off x="7244964" y="5654548"/>
              <a:ext cx="4572000" cy="476530"/>
              <a:chOff x="7236902" y="5672014"/>
              <a:chExt cx="4572000" cy="476530"/>
            </a:xfrm>
          </p:grpSpPr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3F36728E-4FD2-DB8C-E9EB-AD4BD09DE266}"/>
                  </a:ext>
                </a:extLst>
              </p:cNvPr>
              <p:cNvSpPr txBox="1"/>
              <p:nvPr/>
            </p:nvSpPr>
            <p:spPr>
              <a:xfrm>
                <a:off x="7379206" y="5672014"/>
                <a:ext cx="4287393" cy="476530"/>
              </a:xfrm>
              <a:prstGeom prst="rect">
                <a:avLst/>
              </a:prstGeom>
              <a:ln w="6350">
                <a:noFill/>
                <a:miter lim="800000"/>
              </a:ln>
            </p:spPr>
            <p:txBody>
              <a:bodyPr vert="horz" wrap="square" lIns="0" tIns="0" rIns="0" bIns="0" rtlCol="0">
                <a:noAutofit/>
              </a:bodyPr>
              <a:lstStyle/>
              <a:p>
                <a:pPr marL="0" marR="0" lvl="0" indent="0" algn="ctr" defTabSz="914400" rtl="0" eaLnBrk="1" fontAlgn="t" latinLnBrk="0" hangingPunct="1">
                  <a:lnSpc>
                    <a:spcPts val="15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148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569EDDF6-BA19-0957-30F4-58C9E48654E9}"/>
                  </a:ext>
                </a:extLst>
              </p:cNvPr>
              <p:cNvSpPr txBox="1"/>
              <p:nvPr/>
            </p:nvSpPr>
            <p:spPr>
              <a:xfrm>
                <a:off x="7236902" y="5681679"/>
                <a:ext cx="4572000" cy="290464"/>
              </a:xfrm>
              <a:prstGeom prst="rect">
                <a:avLst/>
              </a:prstGeom>
              <a:noFill/>
              <a:ln w="6350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t" latinLnBrk="0" hangingPunct="1">
                  <a:lnSpc>
                    <a:spcPts val="15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148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39AE2758-C0ED-39D1-105B-58355435DAA8}"/>
              </a:ext>
            </a:extLst>
          </p:cNvPr>
          <p:cNvGrpSpPr/>
          <p:nvPr/>
        </p:nvGrpSpPr>
        <p:grpSpPr>
          <a:xfrm>
            <a:off x="6860036" y="1459507"/>
            <a:ext cx="4727448" cy="2286000"/>
            <a:chOff x="2296216" y="3852540"/>
            <a:chExt cx="4700016" cy="2286000"/>
          </a:xfrm>
          <a:solidFill>
            <a:srgbClr val="F2F2F2"/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5BE141C-8875-5E55-E024-401737A7DD51}"/>
                </a:ext>
              </a:extLst>
            </p:cNvPr>
            <p:cNvSpPr/>
            <p:nvPr/>
          </p:nvSpPr>
          <p:spPr>
            <a:xfrm>
              <a:off x="2296216" y="3852540"/>
              <a:ext cx="4700016" cy="2286000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AA596DB-588B-52DD-BF88-0AB60406A6E7}"/>
                </a:ext>
              </a:extLst>
            </p:cNvPr>
            <p:cNvSpPr txBox="1"/>
            <p:nvPr/>
          </p:nvSpPr>
          <p:spPr>
            <a:xfrm>
              <a:off x="2506528" y="4199994"/>
              <a:ext cx="4279392" cy="1591093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0" tIns="0" rIns="0" bIns="0" rtlCol="0" anchor="t">
              <a:noAutofit/>
            </a:bodyPr>
            <a:lstStyle/>
            <a:p>
              <a:pPr marL="0" marR="0" lvl="0" indent="0" algn="ctr" defTabSz="914400" rtl="0" eaLnBrk="1" fontAlgn="t" latinLnBrk="0" hangingPunct="1">
                <a:lnSpc>
                  <a:spcPts val="15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148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ow- to Moderate-Income Battery Virtual Power Plant</a:t>
              </a:r>
            </a:p>
            <a:p>
              <a:pPr marL="285750" marR="0" lvl="0" indent="-285750" algn="l" defTabSz="914400" rtl="0" eaLnBrk="1" fontAlgn="t" latinLnBrk="0" hangingPunct="1">
                <a:lnSpc>
                  <a:spcPts val="15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148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vide no-cost batteries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148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o up to 200 income-eligible residential customers in MA</a:t>
              </a:r>
            </a:p>
            <a:p>
              <a:pPr marL="285750" marR="0" lvl="0" indent="-285750" algn="l" defTabSz="914400" rtl="0" eaLnBrk="1" fontAlgn="t" latinLnBrk="0" hangingPunct="1">
                <a:lnSpc>
                  <a:spcPts val="15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148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ggregate and dispatch BTM batteries to provide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148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ocal grid relief</a:t>
              </a:r>
            </a:p>
            <a:p>
              <a:pPr marL="285750" marR="0" lvl="0" indent="-285750" algn="l" defTabSz="914400" rtl="0" eaLnBrk="1" fontAlgn="t" latinLnBrk="0" hangingPunct="1">
                <a:lnSpc>
                  <a:spcPts val="15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148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valuate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148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st-effectiveness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148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nd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148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ustomer experience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148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or future scalability 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sp>
        <p:nvSpPr>
          <p:cNvPr id="69" name="TextBox 68">
            <a:extLst>
              <a:ext uri="{FF2B5EF4-FFF2-40B4-BE49-F238E27FC236}">
                <a16:creationId xmlns:a16="http://schemas.microsoft.com/office/drawing/2014/main" id="{1DEFB950-4117-B29C-2260-7F75EEF3B6EF}"/>
              </a:ext>
            </a:extLst>
          </p:cNvPr>
          <p:cNvSpPr txBox="1"/>
          <p:nvPr/>
        </p:nvSpPr>
        <p:spPr>
          <a:xfrm rot="16200000">
            <a:off x="5530192" y="3706068"/>
            <a:ext cx="2318695" cy="32336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pcoming Offering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528392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D833D1-4724-5344-6E1F-73D4B1CA9E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48A69F1-7ED5-C878-E0D5-83BC00AE162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5" y="248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5" imgH="312" progId="TCLayout.ActiveDocument.1">
                  <p:embed/>
                </p:oleObj>
              </mc:Choice>
              <mc:Fallback>
                <p:oleObj name="think-cell Slide" r:id="rId5" imgW="305" imgH="31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8A69F1-7ED5-C878-E0D5-83BC00AE16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5" y="248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2">
            <a:extLst>
              <a:ext uri="{FF2B5EF4-FFF2-40B4-BE49-F238E27FC236}">
                <a16:creationId xmlns:a16="http://schemas.microsoft.com/office/drawing/2014/main" id="{3E5B25DF-01B3-6B0C-BCA1-482E6E97D0E9}"/>
              </a:ext>
            </a:extLst>
          </p:cNvPr>
          <p:cNvSpPr txBox="1">
            <a:spLocks/>
          </p:cNvSpPr>
          <p:nvPr/>
        </p:nvSpPr>
        <p:spPr>
          <a:xfrm>
            <a:off x="430373" y="185316"/>
            <a:ext cx="11329827" cy="1038720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5pPr>
            <a:lvl6pPr marL="342857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6pPr>
            <a:lvl7pPr marL="685715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7pPr>
            <a:lvl8pPr marL="1028573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8pPr>
            <a:lvl9pPr marL="1371430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We’re connecting customers more quickly and cheaply with Flexible Connections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88DE27-6D53-8250-F8E6-8D408E6DE4A9}"/>
              </a:ext>
            </a:extLst>
          </p:cNvPr>
          <p:cNvSpPr txBox="1"/>
          <p:nvPr/>
        </p:nvSpPr>
        <p:spPr>
          <a:xfrm>
            <a:off x="1321157" y="1216353"/>
            <a:ext cx="9628426" cy="32385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rrent State - DG Customer Use Cases For Flex Interconnection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4C1F3535-4865-DF89-3571-BD66916AC3E7}"/>
              </a:ext>
            </a:extLst>
          </p:cNvPr>
          <p:cNvGrpSpPr/>
          <p:nvPr/>
        </p:nvGrpSpPr>
        <p:grpSpPr>
          <a:xfrm>
            <a:off x="1229717" y="1570912"/>
            <a:ext cx="2926080" cy="1408176"/>
            <a:chOff x="1229717" y="1697326"/>
            <a:chExt cx="2926080" cy="1408176"/>
          </a:xfrm>
        </p:grpSpPr>
        <p:sp>
          <p:nvSpPr>
            <p:cNvPr id="22" name="Speech Bubble: Rectangle with Corners Rounded 21">
              <a:extLst>
                <a:ext uri="{FF2B5EF4-FFF2-40B4-BE49-F238E27FC236}">
                  <a16:creationId xmlns:a16="http://schemas.microsoft.com/office/drawing/2014/main" id="{136B5805-E72E-3A81-1A2C-796E0D2F58B5}"/>
                </a:ext>
              </a:extLst>
            </p:cNvPr>
            <p:cNvSpPr/>
            <p:nvPr/>
          </p:nvSpPr>
          <p:spPr>
            <a:xfrm>
              <a:off x="1229717" y="1697326"/>
              <a:ext cx="2926080" cy="1408176"/>
            </a:xfrm>
            <a:prstGeom prst="wedgeRoundRectCallout">
              <a:avLst>
                <a:gd name="adj1" fmla="val -40122"/>
                <a:gd name="adj2" fmla="val 44980"/>
                <a:gd name="adj3" fmla="val 16667"/>
              </a:avLst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137A895C-2716-94D3-9F81-41F5B11BA720}"/>
                </a:ext>
              </a:extLst>
            </p:cNvPr>
            <p:cNvSpPr txBox="1"/>
            <p:nvPr/>
          </p:nvSpPr>
          <p:spPr>
            <a:xfrm>
              <a:off x="1275437" y="1918021"/>
              <a:ext cx="2834640" cy="966786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squar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andard Flex Interconnectio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1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“I’m happy to be curtailed at </a:t>
              </a:r>
              <a:r>
                <a:rPr kumimoji="0" lang="en-US" sz="1400" b="1" i="1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imes of grid need </a:t>
              </a:r>
              <a:r>
                <a:rPr kumimoji="0" lang="en-US" sz="1400" b="0" i="1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 exchange for a </a:t>
              </a:r>
              <a:r>
                <a:rPr kumimoji="0" lang="en-US" sz="1400" b="1" i="1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aster interconnection</a:t>
              </a:r>
              <a:r>
                <a:rPr kumimoji="0" lang="en-US" sz="1400" b="0" i="1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”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03B0478-7EA1-ED79-184E-44C700257AF2}"/>
              </a:ext>
            </a:extLst>
          </p:cNvPr>
          <p:cNvGrpSpPr/>
          <p:nvPr/>
        </p:nvGrpSpPr>
        <p:grpSpPr>
          <a:xfrm>
            <a:off x="4626610" y="1570912"/>
            <a:ext cx="2926080" cy="1406367"/>
            <a:chOff x="4626610" y="1697326"/>
            <a:chExt cx="2926080" cy="1406367"/>
          </a:xfrm>
        </p:grpSpPr>
        <p:sp>
          <p:nvSpPr>
            <p:cNvPr id="24" name="Speech Bubble: Rectangle with Corners Rounded 23">
              <a:extLst>
                <a:ext uri="{FF2B5EF4-FFF2-40B4-BE49-F238E27FC236}">
                  <a16:creationId xmlns:a16="http://schemas.microsoft.com/office/drawing/2014/main" id="{B59483FD-EC06-EB7F-AB5E-7B943A61C3DB}"/>
                </a:ext>
              </a:extLst>
            </p:cNvPr>
            <p:cNvSpPr/>
            <p:nvPr/>
          </p:nvSpPr>
          <p:spPr>
            <a:xfrm>
              <a:off x="4626610" y="1697326"/>
              <a:ext cx="2926080" cy="1406367"/>
            </a:xfrm>
            <a:prstGeom prst="wedgeRoundRectCallout">
              <a:avLst>
                <a:gd name="adj1" fmla="val -39373"/>
                <a:gd name="adj2" fmla="val 42466"/>
                <a:gd name="adj3" fmla="val 16667"/>
              </a:avLst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7F888DA7-4BAF-E13C-B6B6-3698958220BE}"/>
                </a:ext>
              </a:extLst>
            </p:cNvPr>
            <p:cNvSpPr txBox="1"/>
            <p:nvPr/>
          </p:nvSpPr>
          <p:spPr>
            <a:xfrm>
              <a:off x="4862831" y="1828277"/>
              <a:ext cx="2453639" cy="1144464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squar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“Bridge to” Solutio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1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“I’ll pay for the expensive upgrade, but </a:t>
              </a:r>
              <a:r>
                <a:rPr kumimoji="0" lang="en-US" sz="1400" b="1" i="1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se flex to connect me now </a:t>
              </a:r>
              <a:r>
                <a:rPr kumimoji="0" lang="en-US" sz="1400" b="0" i="1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hile the upgrade is being built”</a:t>
              </a:r>
              <a:endParaRPr kumimoji="0" lang="en-US" sz="16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05DA08A9-2C05-AFA3-BA93-1EB87343FBFD}"/>
              </a:ext>
            </a:extLst>
          </p:cNvPr>
          <p:cNvGrpSpPr/>
          <p:nvPr/>
        </p:nvGrpSpPr>
        <p:grpSpPr>
          <a:xfrm>
            <a:off x="8023503" y="1570912"/>
            <a:ext cx="2926080" cy="1408176"/>
            <a:chOff x="8023503" y="1697326"/>
            <a:chExt cx="2926080" cy="1408176"/>
          </a:xfrm>
        </p:grpSpPr>
        <p:sp>
          <p:nvSpPr>
            <p:cNvPr id="27" name="Speech Bubble: Rectangle with Corners Rounded 26">
              <a:extLst>
                <a:ext uri="{FF2B5EF4-FFF2-40B4-BE49-F238E27FC236}">
                  <a16:creationId xmlns:a16="http://schemas.microsoft.com/office/drawing/2014/main" id="{76371FFA-489C-4067-8DD8-8A02170D0C5D}"/>
                </a:ext>
              </a:extLst>
            </p:cNvPr>
            <p:cNvSpPr/>
            <p:nvPr/>
          </p:nvSpPr>
          <p:spPr>
            <a:xfrm>
              <a:off x="8023503" y="1697326"/>
              <a:ext cx="2926080" cy="1408176"/>
            </a:xfrm>
            <a:prstGeom prst="wedgeRoundRectCallout">
              <a:avLst>
                <a:gd name="adj1" fmla="val -43735"/>
                <a:gd name="adj2" fmla="val 31261"/>
                <a:gd name="adj3" fmla="val 16667"/>
              </a:avLst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94F65507-C74B-CF47-9C76-7F6CB49AA533}"/>
                </a:ext>
              </a:extLst>
            </p:cNvPr>
            <p:cNvSpPr txBox="1"/>
            <p:nvPr/>
          </p:nvSpPr>
          <p:spPr>
            <a:xfrm>
              <a:off x="8023504" y="1904165"/>
              <a:ext cx="2926079" cy="992689"/>
            </a:xfrm>
            <a:prstGeom prst="rect">
              <a:avLst/>
            </a:prstGeom>
            <a:solidFill>
              <a:schemeClr val="accent2"/>
            </a:solidFill>
            <a:ln w="6350">
              <a:noFill/>
              <a:miter lim="800000"/>
            </a:ln>
          </p:spPr>
          <p:txBody>
            <a:bodyPr vert="horz" wrap="squar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ocal Power Controller (LPC)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1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“I have </a:t>
              </a:r>
              <a:r>
                <a:rPr kumimoji="0" lang="en-US" sz="1400" b="1" i="1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ew DG and new load that will offset my DG</a:t>
              </a:r>
              <a:r>
                <a:rPr kumimoji="0" lang="en-US" sz="1400" b="0" i="1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 and will never export to the grid”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E93640E-F1B3-2F1D-1813-4047F59D86A3}"/>
              </a:ext>
            </a:extLst>
          </p:cNvPr>
          <p:cNvGrpSpPr/>
          <p:nvPr/>
        </p:nvGrpSpPr>
        <p:grpSpPr>
          <a:xfrm>
            <a:off x="1229717" y="3094277"/>
            <a:ext cx="2926080" cy="725929"/>
            <a:chOff x="1144370" y="3233184"/>
            <a:chExt cx="2926080" cy="725929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9379F26E-7FE0-8E85-88D2-12A803A53371}"/>
                </a:ext>
              </a:extLst>
            </p:cNvPr>
            <p:cNvSpPr/>
            <p:nvPr/>
          </p:nvSpPr>
          <p:spPr>
            <a:xfrm>
              <a:off x="1144370" y="3233184"/>
              <a:ext cx="2926080" cy="725929"/>
            </a:xfrm>
            <a:prstGeom prst="roundRect">
              <a:avLst/>
            </a:prstGeom>
            <a:noFill/>
            <a:ln w="28575" cap="flat" cmpd="sng" algn="ctr">
              <a:solidFill>
                <a:schemeClr val="accent5"/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DE063F9-7A29-BB04-046A-640EA77BEC45}"/>
                </a:ext>
              </a:extLst>
            </p:cNvPr>
            <p:cNvSpPr txBox="1"/>
            <p:nvPr/>
          </p:nvSpPr>
          <p:spPr>
            <a:xfrm>
              <a:off x="1144371" y="3345918"/>
              <a:ext cx="2926079" cy="500461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squar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 Customers Enrolled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0+ customers in studies 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029F0B4-7902-A9BB-AE6C-94BAA304A933}"/>
              </a:ext>
            </a:extLst>
          </p:cNvPr>
          <p:cNvGrpSpPr/>
          <p:nvPr/>
        </p:nvGrpSpPr>
        <p:grpSpPr>
          <a:xfrm>
            <a:off x="8036203" y="3100638"/>
            <a:ext cx="2926080" cy="725929"/>
            <a:chOff x="8042553" y="3239545"/>
            <a:chExt cx="2926080" cy="725929"/>
          </a:xfrm>
        </p:grpSpPr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5404CDF0-9757-EA4B-A687-3A66DE41D470}"/>
                </a:ext>
              </a:extLst>
            </p:cNvPr>
            <p:cNvSpPr/>
            <p:nvPr/>
          </p:nvSpPr>
          <p:spPr>
            <a:xfrm>
              <a:off x="8042553" y="3239545"/>
              <a:ext cx="2926080" cy="725929"/>
            </a:xfrm>
            <a:prstGeom prst="roundRect">
              <a:avLst/>
            </a:prstGeom>
            <a:noFill/>
            <a:ln w="28575" cap="flat" cmpd="sng" algn="ctr">
              <a:solidFill>
                <a:schemeClr val="accent2"/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FFDDD165-FAED-F70A-D535-DF35357DB347}"/>
                </a:ext>
              </a:extLst>
            </p:cNvPr>
            <p:cNvSpPr txBox="1"/>
            <p:nvPr/>
          </p:nvSpPr>
          <p:spPr>
            <a:xfrm>
              <a:off x="8042554" y="3352279"/>
              <a:ext cx="2926079" cy="500461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squar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 Customers Enrolled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0+ customers in study queue </a:t>
              </a:r>
            </a:p>
          </p:txBody>
        </p:sp>
      </p:grp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00E22BE2-D86A-395A-5E74-64B1597151D3}"/>
              </a:ext>
            </a:extLst>
          </p:cNvPr>
          <p:cNvSpPr txBox="1">
            <a:spLocks/>
          </p:cNvSpPr>
          <p:nvPr/>
        </p:nvSpPr>
        <p:spPr>
          <a:xfrm>
            <a:off x="3855720" y="3804172"/>
            <a:ext cx="4480560" cy="31466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1200"/>
              </a:spcAft>
              <a:buClrTx/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Next Frontier for Flexible Connections: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6870E550-C0FB-B803-24FB-2028A448803C}"/>
              </a:ext>
            </a:extLst>
          </p:cNvPr>
          <p:cNvGrpSpPr/>
          <p:nvPr/>
        </p:nvGrpSpPr>
        <p:grpSpPr>
          <a:xfrm>
            <a:off x="5846251" y="4224426"/>
            <a:ext cx="4616534" cy="530352"/>
            <a:chOff x="6610419" y="5698851"/>
            <a:chExt cx="4616534" cy="530352"/>
          </a:xfrm>
        </p:grpSpPr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AE0C152E-DFD3-E03B-CB4F-F94F00C6AC5A}"/>
                </a:ext>
              </a:extLst>
            </p:cNvPr>
            <p:cNvSpPr txBox="1"/>
            <p:nvPr/>
          </p:nvSpPr>
          <p:spPr>
            <a:xfrm>
              <a:off x="7307323" y="5698851"/>
              <a:ext cx="3919630" cy="530352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148C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Developing Flexible Load Solutions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148C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Backlog of new load requests, especially from housing is building up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148C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Flexible connection provides “speed to power” for new load customers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148C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Emerging optioneering approach involves iterating with customers on different configurations – flexibility, gas versus electric, etc.</a:t>
              </a:r>
            </a:p>
          </p:txBody>
        </p: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C7764577-A178-D7B3-E771-7FF3E918C3CE}"/>
                </a:ext>
              </a:extLst>
            </p:cNvPr>
            <p:cNvGrpSpPr/>
            <p:nvPr/>
          </p:nvGrpSpPr>
          <p:grpSpPr>
            <a:xfrm>
              <a:off x="6610419" y="5699332"/>
              <a:ext cx="517357" cy="529391"/>
              <a:chOff x="12243815" y="5481285"/>
              <a:chExt cx="517357" cy="529391"/>
            </a:xfrm>
          </p:grpSpPr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52CC6FA2-653C-335B-3690-B4C44380D55D}"/>
                  </a:ext>
                </a:extLst>
              </p:cNvPr>
              <p:cNvSpPr/>
              <p:nvPr/>
            </p:nvSpPr>
            <p:spPr>
              <a:xfrm>
                <a:off x="12243815" y="5481285"/>
                <a:ext cx="517357" cy="529391"/>
              </a:xfrm>
              <a:prstGeom prst="ellipse">
                <a:avLst/>
              </a:prstGeom>
              <a:noFill/>
              <a:ln w="6350" cap="sq">
                <a:solidFill>
                  <a:srgbClr val="000000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78" name="Graphic 77" descr="Blueprint outline">
                <a:extLst>
                  <a:ext uri="{FF2B5EF4-FFF2-40B4-BE49-F238E27FC236}">
                    <a16:creationId xmlns:a16="http://schemas.microsoft.com/office/drawing/2014/main" id="{FDADF7F3-FCB8-2D52-DF59-8806DD1A80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12319613" y="5563100"/>
                <a:ext cx="365760" cy="365760"/>
              </a:xfrm>
              <a:prstGeom prst="rect">
                <a:avLst/>
              </a:prstGeom>
            </p:spPr>
          </p:pic>
        </p:grp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5B2A64E-8CCB-305B-FCA3-01B76DC9AD96}"/>
              </a:ext>
            </a:extLst>
          </p:cNvPr>
          <p:cNvGrpSpPr/>
          <p:nvPr/>
        </p:nvGrpSpPr>
        <p:grpSpPr>
          <a:xfrm>
            <a:off x="1229717" y="4215041"/>
            <a:ext cx="4263064" cy="530352"/>
            <a:chOff x="6610419" y="5079829"/>
            <a:chExt cx="4263064" cy="530352"/>
          </a:xfrm>
        </p:grpSpPr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DB80BCFB-F088-EE72-D540-5E19A436C847}"/>
                </a:ext>
              </a:extLst>
            </p:cNvPr>
            <p:cNvSpPr txBox="1"/>
            <p:nvPr/>
          </p:nvSpPr>
          <p:spPr>
            <a:xfrm>
              <a:off x="7307323" y="5079829"/>
              <a:ext cx="3566160" cy="530352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148C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Scaling with DERMS Capabilities</a:t>
              </a:r>
            </a:p>
          </p:txBody>
        </p: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D2A04FD6-319F-5519-2910-12894ABE0409}"/>
                </a:ext>
              </a:extLst>
            </p:cNvPr>
            <p:cNvGrpSpPr/>
            <p:nvPr/>
          </p:nvGrpSpPr>
          <p:grpSpPr>
            <a:xfrm>
              <a:off x="6610419" y="5080310"/>
              <a:ext cx="517357" cy="529391"/>
              <a:chOff x="10290677" y="5270738"/>
              <a:chExt cx="517357" cy="529391"/>
            </a:xfrm>
          </p:grpSpPr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19746D25-4994-D5CB-4015-600FEC08F93F}"/>
                  </a:ext>
                </a:extLst>
              </p:cNvPr>
              <p:cNvSpPr/>
              <p:nvPr/>
            </p:nvSpPr>
            <p:spPr>
              <a:xfrm>
                <a:off x="10290677" y="5270738"/>
                <a:ext cx="517357" cy="529391"/>
              </a:xfrm>
              <a:prstGeom prst="ellipse">
                <a:avLst/>
              </a:prstGeom>
              <a:noFill/>
              <a:ln w="6350" cap="sq">
                <a:solidFill>
                  <a:srgbClr val="000000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83" name="Graphic 82" descr="Plug outline">
                <a:extLst>
                  <a:ext uri="{FF2B5EF4-FFF2-40B4-BE49-F238E27FC236}">
                    <a16:creationId xmlns:a16="http://schemas.microsoft.com/office/drawing/2014/main" id="{EFDA3EAE-A7E1-EC8A-77E0-5846E04F540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10302467" y="5279642"/>
                <a:ext cx="493776" cy="493776"/>
              </a:xfrm>
              <a:prstGeom prst="rect">
                <a:avLst/>
              </a:prstGeom>
            </p:spPr>
          </p:pic>
        </p:grp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48624415-6BD1-2E2E-F920-1834CEF48B41}"/>
              </a:ext>
            </a:extLst>
          </p:cNvPr>
          <p:cNvGrpSpPr/>
          <p:nvPr/>
        </p:nvGrpSpPr>
        <p:grpSpPr>
          <a:xfrm>
            <a:off x="1229717" y="4934494"/>
            <a:ext cx="4339164" cy="530352"/>
            <a:chOff x="6610419" y="6345230"/>
            <a:chExt cx="4339164" cy="530352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68C9E43-F448-4474-FE4E-8C5551AD4C9D}"/>
                </a:ext>
              </a:extLst>
            </p:cNvPr>
            <p:cNvSpPr txBox="1"/>
            <p:nvPr/>
          </p:nvSpPr>
          <p:spPr>
            <a:xfrm>
              <a:off x="7291983" y="6345230"/>
              <a:ext cx="3657600" cy="530352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148C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Implementing EV Flexible Connections</a:t>
              </a: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651AA21A-C9A0-D209-5E2E-03FC6E583B39}"/>
                </a:ext>
              </a:extLst>
            </p:cNvPr>
            <p:cNvGrpSpPr/>
            <p:nvPr/>
          </p:nvGrpSpPr>
          <p:grpSpPr>
            <a:xfrm>
              <a:off x="6610419" y="6345711"/>
              <a:ext cx="517357" cy="529391"/>
              <a:chOff x="6595079" y="6552704"/>
              <a:chExt cx="517357" cy="529391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C9E6714C-E6EF-4C7C-6D51-A9AC455926E3}"/>
                  </a:ext>
                </a:extLst>
              </p:cNvPr>
              <p:cNvSpPr/>
              <p:nvPr/>
            </p:nvSpPr>
            <p:spPr>
              <a:xfrm>
                <a:off x="6595079" y="6552704"/>
                <a:ext cx="517357" cy="529391"/>
              </a:xfrm>
              <a:prstGeom prst="ellipse">
                <a:avLst/>
              </a:prstGeom>
              <a:noFill/>
              <a:ln w="6350" cap="sq">
                <a:solidFill>
                  <a:srgbClr val="000000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19" name="Graphic 18" descr="Car outline">
                <a:extLst>
                  <a:ext uri="{FF2B5EF4-FFF2-40B4-BE49-F238E27FC236}">
                    <a16:creationId xmlns:a16="http://schemas.microsoft.com/office/drawing/2014/main" id="{2CFD7526-2E4D-890C-5EC7-764D2ED3D93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6625157" y="6588799"/>
                <a:ext cx="457200" cy="457200"/>
              </a:xfrm>
              <a:prstGeom prst="rect">
                <a:avLst/>
              </a:prstGeom>
            </p:spPr>
          </p:pic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11A5D468-26C3-6BAC-D880-60526C3C5BBF}"/>
              </a:ext>
            </a:extLst>
          </p:cNvPr>
          <p:cNvGrpSpPr/>
          <p:nvPr/>
        </p:nvGrpSpPr>
        <p:grpSpPr>
          <a:xfrm>
            <a:off x="1241507" y="5672497"/>
            <a:ext cx="4354505" cy="529391"/>
            <a:chOff x="6610419" y="4454938"/>
            <a:chExt cx="4354505" cy="52939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E2C65CF-191F-5E23-07BC-D9A7557FA213}"/>
                </a:ext>
              </a:extLst>
            </p:cNvPr>
            <p:cNvSpPr txBox="1"/>
            <p:nvPr/>
          </p:nvSpPr>
          <p:spPr>
            <a:xfrm>
              <a:off x="7307324" y="4454938"/>
              <a:ext cx="3657600" cy="529391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148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tegrating with Market-based procurements</a:t>
              </a: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699B2857-85E9-ACE3-BB43-302F03C10780}"/>
                </a:ext>
              </a:extLst>
            </p:cNvPr>
            <p:cNvGrpSpPr/>
            <p:nvPr/>
          </p:nvGrpSpPr>
          <p:grpSpPr>
            <a:xfrm>
              <a:off x="6610419" y="4454938"/>
              <a:ext cx="517357" cy="529391"/>
              <a:chOff x="7187941" y="4528364"/>
              <a:chExt cx="517357" cy="529391"/>
            </a:xfrm>
          </p:grpSpPr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28286E69-70BE-E8A5-7161-1E2088003665}"/>
                  </a:ext>
                </a:extLst>
              </p:cNvPr>
              <p:cNvSpPr/>
              <p:nvPr/>
            </p:nvSpPr>
            <p:spPr>
              <a:xfrm>
                <a:off x="7187941" y="4528364"/>
                <a:ext cx="517357" cy="529391"/>
              </a:xfrm>
              <a:prstGeom prst="ellipse">
                <a:avLst/>
              </a:prstGeom>
              <a:noFill/>
              <a:ln w="6350" cap="sq">
                <a:solidFill>
                  <a:srgbClr val="000000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38" name="Graphic 37" descr="Shopping cart outline">
                <a:extLst>
                  <a:ext uri="{FF2B5EF4-FFF2-40B4-BE49-F238E27FC236}">
                    <a16:creationId xmlns:a16="http://schemas.microsoft.com/office/drawing/2014/main" id="{DF6D88CC-D2B3-8169-DC99-2C46CF384A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7218019" y="4564459"/>
                <a:ext cx="457200" cy="457200"/>
              </a:xfrm>
              <a:prstGeom prst="rect">
                <a:avLst/>
              </a:prstGeom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31162591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LOOKUP" val="20250826160431710-2147483648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LOOKUP" val="202601131135540713096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LOOKUP" val="202601131135540713096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LOOKUP" val="202601131135540713096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heme/theme1.xml><?xml version="1.0" encoding="utf-8"?>
<a:theme xmlns:a="http://schemas.openxmlformats.org/drawingml/2006/main" name="IT&amp;D 2023">
  <a:themeElements>
    <a:clrScheme name="Custom 39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563C1"/>
      </a:hlink>
      <a:folHlink>
        <a:srgbClr val="954F72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IT&amp;D 2023" id="{B4D92E0C-80F4-41EE-B126-DD23136293D8}" vid="{E4100042-FDB8-4129-B74F-D59CAAB3B5C2}"/>
    </a:ext>
  </a:extLst>
</a:theme>
</file>

<file path=ppt/theme/theme2.xml><?xml version="1.0" encoding="utf-8"?>
<a:theme xmlns:a="http://schemas.openxmlformats.org/drawingml/2006/main" name="3_White">
  <a:themeElements>
    <a:clrScheme name="Scheme1">
      <a:dk1>
        <a:srgbClr val="00148C"/>
      </a:dk1>
      <a:lt1>
        <a:srgbClr val="FFFFFF"/>
      </a:lt1>
      <a:dk2>
        <a:srgbClr val="FFFFFF"/>
      </a:dk2>
      <a:lt2>
        <a:srgbClr val="FFFFFF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148C"/>
        </a:dk1>
        <a:lt1>
          <a:srgbClr val="FFFFFF"/>
        </a:lt1>
        <a:dk2>
          <a:srgbClr val="FFFFFF"/>
        </a:dk2>
        <a:lt2>
          <a:srgbClr val="FFFFFF"/>
        </a:lt2>
        <a:accent1>
          <a:srgbClr val="00148C"/>
        </a:accent1>
        <a:accent2>
          <a:srgbClr val="00BEB4"/>
        </a:accent2>
        <a:accent3>
          <a:srgbClr val="FA4616"/>
        </a:accent3>
        <a:accent4>
          <a:srgbClr val="500A78"/>
        </a:accent4>
        <a:accent5>
          <a:srgbClr val="C800A1"/>
        </a:accent5>
        <a:accent6>
          <a:srgbClr val="FFB45A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808083"/>
    </a:custClr>
    <a:custClr name="Custom Color7">
      <a:srgbClr val="55555A"/>
    </a:custClr>
  </a:custClrLst>
  <a:extLst>
    <a:ext uri="{05A4C25C-085E-4340-85A3-A5531E510DB2}">
      <thm15:themeFamily xmlns:thm15="http://schemas.microsoft.com/office/thememl/2012/main" name="6085KN01_CF_16x9_ENG_V1.potx" id="{D82BF9C0-8A91-444B-98B6-13140B74940F}" vid="{2F3F31D6-DA70-4F86-90C5-F5D537FAE3B5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84</TotalTime>
  <Words>652</Words>
  <Application>Microsoft Office PowerPoint</Application>
  <PresentationFormat>Widescreen</PresentationFormat>
  <Paragraphs>87</Paragraphs>
  <Slides>5</Slides>
  <Notes>5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5</vt:i4>
      </vt:variant>
    </vt:vector>
  </HeadingPairs>
  <TitlesOfParts>
    <vt:vector size="7" baseType="lpstr">
      <vt:lpstr>IT&amp;D 2023</vt:lpstr>
      <vt:lpstr>3_White</vt:lpstr>
      <vt:lpstr>PowerPoint Presentation</vt:lpstr>
      <vt:lpstr>PowerPoint Presentation</vt:lpstr>
      <vt:lpstr>Expanding beyond ConnectedSolutions, National Grid has a portfolio of next-generation grid flexibility solutions.</vt:lpstr>
      <vt:lpstr>PowerPoint Presentation</vt:lpstr>
      <vt:lpstr>PowerPoint Presentation</vt:lpstr>
    </vt:vector>
  </TitlesOfParts>
  <Company>National Gri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Nick Watson</dc:creator>
  <cp:lastModifiedBy>Nick Watson</cp:lastModifiedBy>
  <cp:revision>4</cp:revision>
  <dcterms:created xsi:type="dcterms:W3CDTF">2026-05-11T16:59:54Z</dcterms:created>
  <dcterms:modified xsi:type="dcterms:W3CDTF">2026-05-18T14:13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bd75a54-f2be-4ffa-b165-74c609d83991_Enabled">
    <vt:lpwstr>true</vt:lpwstr>
  </property>
  <property fmtid="{D5CDD505-2E9C-101B-9397-08002B2CF9AE}" pid="3" name="MSIP_Label_8bd75a54-f2be-4ffa-b165-74c609d83991_SetDate">
    <vt:lpwstr>2026-05-11T17:00:39Z</vt:lpwstr>
  </property>
  <property fmtid="{D5CDD505-2E9C-101B-9397-08002B2CF9AE}" pid="4" name="MSIP_Label_8bd75a54-f2be-4ffa-b165-74c609d83991_Method">
    <vt:lpwstr>Standard</vt:lpwstr>
  </property>
  <property fmtid="{D5CDD505-2E9C-101B-9397-08002B2CF9AE}" pid="5" name="MSIP_Label_8bd75a54-f2be-4ffa-b165-74c609d83991_Name">
    <vt:lpwstr>Internal use only</vt:lpwstr>
  </property>
  <property fmtid="{D5CDD505-2E9C-101B-9397-08002B2CF9AE}" pid="6" name="MSIP_Label_8bd75a54-f2be-4ffa-b165-74c609d83991_SiteId">
    <vt:lpwstr>f98a6a53-25f3-4212-901c-c7787fcd3495</vt:lpwstr>
  </property>
  <property fmtid="{D5CDD505-2E9C-101B-9397-08002B2CF9AE}" pid="7" name="MSIP_Label_8bd75a54-f2be-4ffa-b165-74c609d83991_ActionId">
    <vt:lpwstr>29ff0321-2ec8-4ed7-b8b4-28475d35a096</vt:lpwstr>
  </property>
  <property fmtid="{D5CDD505-2E9C-101B-9397-08002B2CF9AE}" pid="8" name="MSIP_Label_8bd75a54-f2be-4ffa-b165-74c609d83991_ContentBits">
    <vt:lpwstr>0</vt:lpwstr>
  </property>
  <property fmtid="{D5CDD505-2E9C-101B-9397-08002B2CF9AE}" pid="9" name="MSIP_Label_8bd75a54-f2be-4ffa-b165-74c609d83991_Tag">
    <vt:lpwstr>10, 3, 0, 1</vt:lpwstr>
  </property>
</Properties>
</file>